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sldIdLst>
    <p:sldId id="301" r:id="rId5"/>
  </p:sldIdLst>
  <p:sldSz cx="9144000" cy="6858000" type="screen4x3"/>
  <p:notesSz cx="7010400" cy="9296400"/>
  <p:embeddedFontLst>
    <p:embeddedFont>
      <p:font typeface="Century Gothic" panose="020B0502020202020204" pitchFamily="34" charset="0"/>
      <p:regular r:id="rId6"/>
      <p:bold r:id="rId7"/>
      <p:italic r:id="rId8"/>
      <p:boldItalic r:id="rId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159" d="100"/>
          <a:sy n="159" d="100"/>
        </p:scale>
        <p:origin x="4362" y="132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4.fntdata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a1e1c818-97b6-46a8-809e-bbf816f2bb92" providerId="ADAL" clId="{5867CF0F-44E3-47B5-B5C6-4F3266EB31B2}"/>
    <pc:docChg chg="undo custSel addSld delSld modSld">
      <pc:chgData name="David Goldstein" userId="a1e1c818-97b6-46a8-809e-bbf816f2bb92" providerId="ADAL" clId="{5867CF0F-44E3-47B5-B5C6-4F3266EB31B2}" dt="2021-01-25T17:47:27.350" v="53"/>
      <pc:docMkLst>
        <pc:docMk/>
      </pc:docMkLst>
      <pc:sldChg chg="del">
        <pc:chgData name="David Goldstein" userId="a1e1c818-97b6-46a8-809e-bbf816f2bb92" providerId="ADAL" clId="{5867CF0F-44E3-47B5-B5C6-4F3266EB31B2}" dt="2021-01-18T19:50:01.612" v="27" actId="2696"/>
        <pc:sldMkLst>
          <pc:docMk/>
          <pc:sldMk cId="412613" sldId="300"/>
        </pc:sldMkLst>
      </pc:sldChg>
      <pc:sldChg chg="addSp delSp modSp add mod">
        <pc:chgData name="David Goldstein" userId="a1e1c818-97b6-46a8-809e-bbf816f2bb92" providerId="ADAL" clId="{5867CF0F-44E3-47B5-B5C6-4F3266EB31B2}" dt="2021-01-25T17:47:27.350" v="53"/>
        <pc:sldMkLst>
          <pc:docMk/>
          <pc:sldMk cId="2716906817" sldId="301"/>
        </pc:sldMkLst>
        <pc:spChg chg="add del">
          <ac:chgData name="David Goldstein" userId="a1e1c818-97b6-46a8-809e-bbf816f2bb92" providerId="ADAL" clId="{5867CF0F-44E3-47B5-B5C6-4F3266EB31B2}" dt="2021-01-25T17:44:40.205" v="46" actId="478"/>
          <ac:spMkLst>
            <pc:docMk/>
            <pc:sldMk cId="2716906817" sldId="301"/>
            <ac:spMk id="6" creationId="{A223F819-D1C9-4831-ADF0-0A8E39211FE2}"/>
          </ac:spMkLst>
        </pc:spChg>
        <pc:spChg chg="add del mod">
          <ac:chgData name="David Goldstein" userId="a1e1c818-97b6-46a8-809e-bbf816f2bb92" providerId="ADAL" clId="{5867CF0F-44E3-47B5-B5C6-4F3266EB31B2}" dt="2021-01-25T17:44:40.610" v="47" actId="478"/>
          <ac:spMkLst>
            <pc:docMk/>
            <pc:sldMk cId="2716906817" sldId="301"/>
            <ac:spMk id="7" creationId="{7EBDE039-9830-4C9D-B099-CEC3C0FB1D45}"/>
          </ac:spMkLst>
        </pc:spChg>
        <pc:spChg chg="mod">
          <ac:chgData name="David Goldstein" userId="a1e1c818-97b6-46a8-809e-bbf816f2bb92" providerId="ADAL" clId="{5867CF0F-44E3-47B5-B5C6-4F3266EB31B2}" dt="2021-01-25T17:47:27.350" v="53"/>
          <ac:spMkLst>
            <pc:docMk/>
            <pc:sldMk cId="2716906817" sldId="301"/>
            <ac:spMk id="16" creationId="{3E592704-7844-471D-9FE0-2D974596550A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2CADE155-AE95-4AA5-91EF-E1CFB681D1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hyperlink" Target="https://www.ethnologue.com/world" TargetMode="External"/><Relationship Id="rId4" Type="http://schemas.openxmlformats.org/officeDocument/2006/relationships/hyperlink" Target="https://www.mekkographics.com/10-most-spoken-language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Q30RXwdXtvkH0USJ3+j2166AG5ReQpYFfnVbPzVfVL1cNHw8vvNKsai3cmLvkGjUQwDBnRCqQHJ4idrCvDK9SLv3oeFYExzpCK2wANYXLi+OdDe8oxAxM715klUqBgsYMyyjEaxcEHN4c+TztyaxsQRjfek3AoQNVbSpxXvBYNNkRWCBiZL+Wu1Q3mgT2+D1pIiWIKY41uKMx+sMBuahZddlB3jst+HuAmYb6CIGUY7DL9YXZkzxLwY4WOYjoj6ERYayAxyXMZmhTAGRhCpW5wTqaKiDwoSoo/FLZ0h/3kgdGAgCFTLpkTAXwq6TOIlp/pkC+AjUvAi1ECoZsqbczvcLIqvppmUyJ3VG9nde8yK8mgGo5UKHeqq7H+2chA/f1boIXaLuCAepazQO+SQaKGNo+Fj4qCRfRpp+mDqiYTz73+jLJHPyCZoyAAeLFGAlOdOBi+F65T9vW6wJAOdnTUOPO3ckR6ak9I3F6nsP93/tKIbxFglKAxVqqr6ALXJvuVPNS7yHUETaZxGYJyoWRNszCa7vnmPCAa3gNLv368y+LMQhnQhrJ3vYKAvOJZ5aTsdTCDayyZoh/ibo3kyhYYpuFUYEpER8Iu8B3z2vh8pezr9B0z2P/IBx4rw6rfYXrhFpY/kAKRFK5QO+RzanqdIi8NrocJBdsHoNZRlF8BTGZknfUYMJ636QNLYHi/nZ2/4mFL2qndQQVvBO9VyCl5ckdLNpB/fjpi9OILaB19DhDFH3a4w6Pzu1I7/Pu+XnFHDrsmvocHJ6eruPgwIqH7i9stLtMlkRbZlMX7u4XUcYTHAN1Qr986eBEh9xhEtcXlb+c0CtiTOgKmvYNAAcDjanMwXqPPbNDR6NL6Nq4GvR4yZhYCQoyTH44MurjN5hrIYpOYZaGDU4p70YVHQsz4J7HeN383kx4OOJI25OBDpISY/gmAyq/uyIW1F2Ljs6mxqaLZKBNtuumpPmqvt+y3+6255g4AjYjHrqGnwmiB5p+aPkS6SswmzlM2phUn4kpfEI0uvc3uP4cS9X+cVxdc5TFqsR//dc8JhNZ7s8hzssMqxx6HAtApLt53zCC/WGORxbFDQg1mnrozQH1ZEM4naeCce1z2GidvesQ259sLAwAEHToFJOaHRQ6AdGsCHLHtQkGf8noo9e+QOPKeiTNVhYp4yrThMMlrfbppDeW5JGoF0nY9K9mTq37po3r5d9nwiHZ9scazLUSJUtLEn3Vmd5vCv1e3nPaD85axU07Ehny+OFOhmJV+HkrCp3742DeHPAFW2WWRCAHkBp7PodCFqNvAnyc8yjdU9OdgXqdt3xIW8ENnvag63hYbfax1VOi+15WUagcDzkZG9YXsCBJFtgunNck1UODjJGUCl2N8ReUm3+ew29ETR3Xn7GEjzFecRLsf4LFmLDhbt9SMvpVW86wmKhZA0mmXLQHOxdM1bclziw1CDKsMTEl0++VPG3bAUke9X6gUlB3u9eHJ3ITIlqUunkWO/S1StQ7KJPtLFaX+c+EAUgHf5S4kuUoI3dNIFy6RvKCngEY3+iSdqwKHsNuQfEEQ3n+gYn7HZD/TfA181DjkDtwcUvAhYVwy/YrvdIfvTnKI7xTe1cZz+P4edW1xBE1mQANMwexLNuRDe/pddYuEp0gw+9UGQUfeokxj4D2f5qNR44jZlAdw0W5yssOveL8gXpuSYhBnsNzRsS9MWGD7XpKR5xo++hJWyb+fCuwoEScpTT9o74M1TazGslxBhoT372dnt7R+gHHTKiWT6ZgnZjYTm4asV7/C+FBt3cLdhmBwQ1KMyGkd5m+TbbODW6uw8v6EUi/XojgwqSB5q4+bEQQ4qOjgxrKU1mLVj5Bjgl1LWZuo7gdZhOShNfGUrAM8d70LhshOU0e1bs0JKB4+9T+PIsZD8jSw/Vo7xqVda+2RthbGhqGkTYwF8+4w+PojRZA7JsICMlkNmKCwqhZP9cCs+ri376Ch8dqpvMGFueaBgspMGxKU1hccKDRVxYAMzeCBOWUMCF8myxdRf0fFDRL7PqMKZ7NifU8oykkjOr7i+mQCCGU6EeSKRCe3WRX0QArXrxAqBLcfMI6DyJ+QZ+OlygViK9jZAhPlYP93gcmSMLx8rUpKHZte12Z9XsmB2PEF01QABTSnGJc3/5sTzkFXXG9pwcN1VCe985glYXOuZPcYz+MgnRh01eGvmRxuIER4KHgBf3X1+esc6CSNiK2A24TcKsYvocpdMMzFDsU0VYZXM348o0p8qsv5JALytkbQoA6kQtSakfRnxdpAxXOxy5T29dF0n9NpolB6vMcwVPx+WdO2QpPbaSbO1MIEb9k5c2bwKC8sseUSGboDeqI6fdJ36+TMClEKYozD2cT0ZB/9C77wacPTknD52vfsxV2/b5svkoqXs/RZ1i/66o7yaFA4qNLo3w5aCR5TlCanSsRf6NQCuGxGMksA3+PVnyt2Jr8vND40qVXwsD+3GB9/8LKLENyUB5IwNltvMBkwgCzXiMxpBl16fpQyIRz2+xfP11z4CPWfjmyKpqjWdleRqrMxupPgTVqNEaQ0u1E75GDabPd3+kaoKDoHljiTGo1tDYigxeRDKiW3dUWLg/rVivf7oepffKZfJ4ZFFOwiYCEnhuxuUzK7KNeATXPGB7XFCId8L+b6lNlSm76oUTTdgwufhFWuigbXWUtSAIiQOvh7SIO6BkKihIy9EOAvMH09X2476SVGKiYvY7HdRgvrwR+sasW5ejF/Pw8oGhLZkiyoCsRLNKEHaZokerJLeye3+LbsNxRpc0lB7fqJvm04WpzE3yqkpsaeerWPJBUhwBbhT3kNSabLybtqRmFeK4RKpUf35F3klGC7ODeost1k+xiwSZXtIVJ5fh29mS66vfjtK3nwwhs+mYhe8lPhKkBCrjOFrPffO8bUVBLatlUL0tQmM4B+yzXheRCxKsNyAFWSxjYVeZvjZhhe1JWqy2MkPCkzkfVY1pOjZCvhorntF1ICNHBkuMA3iywpTsLtpMVXX0JM16ytEHVx5k0rFqcH4eEHzXPt8gPbFKj4LltG7XJo1nQDwqcOFz4mwMTJHCyAuF9SCzTtXvXl1EbiMEf0pp5rXM0AzfWGVHPas6vtIpvCj1EkkfQTBrGnTP2y5WRyUYyhwXhBXDMvyRXix76CcA2G+PgmEUPRSCJMukLAHxrhMxc/UmeLWjfGg75Let2XY2E1cq9Uxt/LMpav0qhr0pjBQ5aebx9q6Z1iDspNPAHXulGmZDQC73l1Fg2OsnOaETnZM7MeuEKmsSgL9P4KSaUznorV8if6LLiiMK7zh8o4U9kw+o57oVU8AuUcDyqp8EVZ0spRN3Hqv1mvtB0zPOVf4vjbGwR9dUPTBxXDompB/C7xAYCtD/CgVzzmuTzmKjr56CzbMlgtsbzmiZ+K8+HEGo/WR0yACbalSuUFiDop90P3IC7STv3k/eM/DoNV482USeIMbF/qI1/FzJ5RDn6etEGbJJBzkNFX7pQSxy8SVpfLjQDvkUicXA3meSZG+VGyOAbBN4+byu6O0CuXRST18K3rboOBd+24RLA5XltqX6rEQ+HeRqGXyd75L5o29dINdfAj0RWVsSHfTPKBR93KH3kfIRS9oST4a/XEKoXU6h/IiQFU4LYSk+UQoQNoCa8SWpbLFGpBTXPqt3Y2Vv/nIk/AiIeb3KFEYnfRxZdumlZIESkjkkPI1AyBVefThPhCOtfFuSBi6fJUOCGGgVv1zy+TuA6bMVSUNqAHqZ4t/OAYfmiAfsS5h0d5rQSUdOKlXpSuJJ0Y2LG0HGQGehjHksaQBXZIvjEpoaWZuB4ugxR5mtpmT3L42x9G7JE6aP1g6F8W6/YQpXKcOqz2JcIvYyrEFrWS8fR5zQDpJ5/ul/aN/IvLwnUHcLgEmj5mtlo0AUJ0jRYqY7Ey0c99b2bEkX9IbPKSvFoB/HXYmPX0qylUgCNlkDodLhqVKmabfCNtZuGs8T3GldF1PqygtUCrGQJ6HrGPJqyhSoql6Q5oSnS2XQ92XmsX77fyaE021MUUN5QWswj7V1ue1antcNa1e5zPEus2PS3iS49f73yxq2aQL5RuC10WMr2ECNqejtSjwrDsgNN27J7rBUKFh8PN6QOSiq2VibHoNyRfpakThYMd/pNrdn/0lcpZ/jg5GabWBDF7Jt17/63pb+VvDF7ZzXo9garj1hCNXpPtpbEYBmt8ajvNJNx6gaOKufjqsrKX8sGLJRCo35qqOQyz/JionRfhI7ohFx14RrZpUxECfeCyFDSwldTduBKjO1cRgWRreoI0prtQO3ducJV+kDkzHBMWGd2NLOD1qtXHuWbNRmSxaq6oJd08/7Yib2FRXVH74dllrUKIpPek1CEtwQYCgjFxG+srnmS1IrE04t3YQftZBwpOV7b2rH6xvro8d+GjT3e0PDiMz2ztH4W0q1uMT9Jh08NXGxTwiUbGkysRIkYGi0vC3ayLicrZRAo6Fe3Ugx9gj2pbqYEdzQ3oyT46owWq2Q2z2Ptb3/x0wtv/RugpDX6wScmMvPC5nXBOsYDKN2cgAurN/O1W04oao8kDvphBbJmRvxpWEmfo1t/oN9nWOtFKPu+GxqKzVWtV0DF+GWHTSyqaVBP7Wq69rZCES1YAfVcnKMNGWU3EYcOZJk2k4gJLtgOgpl4mz2PyCFZNvHV4EnD7HHyi0eNKqiXyDAicS71AF7JODew2zFaMXXjtt5IHUSj4746E/5ABaltaGfsXIGJX8ISlGmnKvLey4mKhBCUIQLcKGrg5xs0/qT8eZA8azSZLZSnSa7y09dM7LSU+jZAZ0v6y5XBBH9R95BDFD2p2vWx+CwBX/+BDz9mQPg3DfGUvyR091SJoA4/JsQkZlo/ms7RLQxguTpcB06BJGcV8bTwuwrMF+KqdOSwMxPSegqN3bZbxEJvqOdBNEhHKlWKOLdCuTrGvTKQdw6kQ8yQj+1lO8Yt5XcoXJ/y25TqNlulQTB9nlTcWu/3RmsGAuGh56FaOKMbz+mw3SmcUlIsuJcrMaeJMa7d2RF77FQtaEIuVscdpzttCcmJt3M05ikx0nEmj8LK++x/NAVQxcFNLUCZpaNu7zROdu7ME2c9Uy+NxUtU5plrVypX0l8MddHMqteQO2M0x0dlXhS1cUw4YZj70xOspqM/3+Gn5Fk9fjR8rObG4yxLuXixxmGBPkzC6rINMWblf5TfJU2thp2xtvfBv9Vj7TeldtG6FTySwS6NyvqjpsZ6bhf2wLakpp5j4oc+LK77v9EYHemA3TX/rCR3FioHg36EGOu1CNJCmAjVSJWTgsIsHFhqtlJdTxwXnyAoXGDCR7Wi8samONKvF71YgPdWalqhLvlOshrfALQTeDSf7pz/CQOU0I4SIYldEyTcq5d7W6CQgpqCuXUCyh+AYqyfNBjsbv6mXGIf37wgi4xh3wFX+Ba3NjTP3fWzaotgAaFcqRAAZRqkNgeFKYvCmTLsNgomvTk842hGF3FbjPK8JVv/4lwYg4ZMzTq6TCVZ5m4xISYxWnkj595WlFjw9toQY8Ion2l2FVIYrSTqkyGkCBqMRs7JkYC0c9k3YfF3CP+nXBa2acBeQBzFiKVK0F3Cm83NA0LAYjpb0GwrFr1L+mrA5kzIV39+5b3pE/bLkfjO6UqBnrR2ZgNEK1TkRgXSWmJAxYd2ItUh8n9PR8T7Y1BaCsJDqjckL4XK3PRju1TnzzCLOegarF8rlk2ZXQo1EO31+DAjBIoKXWXAxsbE1pWi+SZsnLfD3t9GhmvmcKjgFOGZLnI8Ze+974vnM410ZCeCI/GMK/Xu93te51NdYQQSP1+UW7KRASDzYaEo4qXDZ3NvCn8glfqhFi2mP6Dip5ybFrcMpmcP228H8aH1P59R1x6cVgcwQRkuSBlCnUxQF+2r96jK7UyitcacfOHK+zZhSBlepf89VEkmBY5z9UcNeFr3CpLql+ZiPn2kEj7pzZ0XaF2/E7BhTxcq+UJFT2SqjLLMk+uAoCgWTnz3fIDOX3P6VtSmmGukExTQ53LwUMsu3UwtYPR+3yQwJSt6lGz29ZYDU5Ejeir1NeZEaVH7UtTVY0f6/KzezafORZK9HF0xzK4u8pahj0BbTl10Oi5+reEqkPag5q7aROUYbtGKjUN7VAdML9S1XuBHIe2r2U6i6I4hdOaauIMja2JfZ77jAuIB0ATZXQ2GNmEqdm+FQV02JDQpv23ajVCd7/Esrfp+52AEBJFMubXtXYGykkWLxjtQu3rsPfCcpYcTPk0SbpaS0TFHNTluGMQgbowqkaKMWKuwzQZCRk5GTn0hmE7qcd5xeXvZ3NPsVyuomuGRR6JlL9N3Lb5ZcF8lsmmH+AgRqKx4cfoaQmtfD1V6cgpLNIG19UoErnyBXSYbenycwRPdezB8zpkOXrG58QvM4CrMScB3g43bDdZkBwRA9wmiN7khN+lSNSpCokfgjIhee8Ri+hk52475pDaTODtzD3Gxe374mKFOOX2y+tDQRjD/jW5AKf8XsZI32EPk6A+T7AakXKzjZbWWMlMFnHAvQ17qTR1nP2VD3vqkxKctZ93EIfqeTAovaThGg91SWSxLRVDsYRdtg1du0u6Yk2i4j3bb3d9hGNyyvaNSz5XiHeq3ZahLRkiVflS5veb24Oy4O9s2kxm+P8n9TS6B16yeljDI+Hb5hYnQ0vU8WdWa151bQP/i8RVH9iPx6QL8pd4FRJ5nU9PtwXXQmi5GzvCcS3buJgl9WUFeOsH3fRRWiNLCYjx69HswXAhtG2DX/mgz9oSXEO8pOuaoaVPb9P4n39MfZeJTjWsHP/kPj0YDcn+DKEGWWyBRJjLrb9ouPSIdbRHvZXshOrH7MkzHBh62HpIgRFbhtpvpTEo2MJiFMQQPfmy194cqQwAEdt+5Lf12rKtn7O0Wrossnf8ABIxSiQqG2MR3p1w3kMzvF4Mh9rm9L1FuDBlq90bAAw6kU1mqLNur9v9y5z5f8MXfs2gECKRqyKOlWaW3j1Jd6h6hx72hMgRpyYGisQaoYWtE+OTGJtHeqahi8MZYGC+EKyp8Mzxgk16LyOfCxorJcx8Z25VKk0T1UzK7/+bcWPw9jpb4GJQLGLAzbNY98g9DGr6aqJ44g6cBwBeGo/mfOcpJQI24tsGoiMY8tLMPhhpozha3m5JkIsY+N1ruUOWkn1pzkssnQhn8+WsjPk4TINHpZmjCsLSVK8iKljaWDrXAK4I6E5LWQ6WE/bmCubPc8SNVbUD0yYKUzzKn7s27RKtFyb1eZy7/PQOgnfNmog6RRwCyDTdpeb988pe3FTsx6aR6AFsK7YCDssY11yD6+5mWmHJvU++UrVTFgPt7HgnmD89dfVc2ZR3oDmYNtKVENZJcFTNX/yzjC+YzMOvcd5iJ1nvxYI8It+VRVmR9Lk2RN4ID5IEsWmrs/43yLgCGTovzduDsxR3ilXIfQl6nU0VMb5/JA8h3QfjiJxlVtpdLDckiUKsxLbeuOzOXNmm99EetRXd3lFAqVLQPiHpF7JwqdeUrvtI/GlMEcrQPVFnFcmZ7MW8Qk0BL67N6yYTSdphXKHwYzqKNGzpEyu/U+a7I9b6Hv31Nsg45rQ8Gs5FRo4cKIuYc/3JFanHiZp+9/dhcroBiN6vO58HQS9kx0UaxIhoBTNejyQrPMmxwvzD1wJzaTsdyd/ZLM5B89B2kpshD2L2w/bZ9gs39gc3Y4AnqVvwpyoFt8NAWsljmlQG6mEfsVAw/tF5ARZ2ctd4+wqOGD18fRIcF4i5YFK1rn2hhaD/EQ/Ve8FcIoD2NeYqqp1O7OEZ5VSGhIN2sQ41I9Gm9j72c4rYqQrcGCMENVRyLssDeD2DqAzDwQd8qaNCXmLtfJ4GQ52tqdmymPPtrE7E3NuHamj98JzjSO+mJ0UVZxswX4tonofh5uIVJ35xI+gTplbM91GCsgf1InAUpYXUo3Ne8+OQQr/XOYDj/+IEI4m8Ylf0W9O2mcmrmkJfRxpoCA5qAThJHY3P5LUQ2jSs/GDJ7AQVfy/oNDs2lyRyr1S9S0QV3keEPT2PiiUvnfFiG1Qnf8inHxvx386D+TnKfdC904Rj52bAOAygRmwM+LJcM0CYWODY3R/89dXtlUdpyhtyY7CqDPCpUb35tjAijuhC4Qh/+nvyoMguEbuWiO1jVqqicV9uDA6IniS1/cgVFRAzw1CL56fjauQG9hPSJRS2LJ07cv6c72eNV7kuGddGaEwgfa33PVLYtziFtENpRqogvjNf8WhCHxBAAqStm42XY+RTo/3IGrQ/Hw/KLIoEgCI6YvO0CmHioGk5eKyW9iReQKeGBdVIBHnZLdUGw8EtH3uk31FQUPLgkXqDzIebl1hxAH+2TQn1yX6nYeLw1uyD98Kmol8YeRN8x4/wEgi73Xcq5mFXRBTEWYqBWwXl8X+dpDJnkFd6hgKSjAFL9A6MIxPDvL4YXCFhe/xMIu3eX2aCb+w9N9ERxRnaV+hWyoP5yQMYiG3+UgWmFKh3RWsQ2rYWyW9USlYcpRK2h1Fc+xCwgO77aop0yYVGwGYS1FYKKn0oD0rrcejsY89imLkQL6jmQfDiN2frRnMTeCNS0geSdBgcrswfAuloq5C6Ue73WDyrAf+ZT8oW2ekubV3MG9WwLXMl8Ew8paQQWhhBRs6LMaKfczL0onlHDGbt+8RNPJunQjowLVe6W+3FMRDoJZSCt0UoskIq5tg39utKRlKuR8iqZ5lp0RPFUV2s+A+PQtCXhSD1q99/rNXu8nWws5ErWJxLyirMJFq27YXzfewTCz3rft2ZwdOONKqYRfdLHEkOJEMwL2AyOLfGnSJHZ/nvpol9DYoROltgaUhN4Z99J6im3+4tHBJXVUSJUlQIpTIVt/5v/MILeVVhkRcMIoETsOhaRA8mN/ido2kT8bNU+LXew1IXvJr4pxGVEKRIeDWeb9StrRCtmxkq4vk0Wgvw9cXpLjU3VyLnTI5mEEjnptIGIxBYheY4hvu9ZEvuvtKHJT6ELidHOuWcknSFB8cnMCUxqtTsw+nCJkiJlkknnsTOdcNV0J/aq5xMqA/1EYp6MOLcxnhGMbMgV4u0k18vmyRuXacGHzD90rnErjrzPZ5T/7Fm8CcAjQv4KhtRM7uuG+IJuR4SxYPhbjwGTXdMcRHr6HnZRlFaaOW/TsTKUvhN2yrVlyAcbFiJ+j77mXfK24oZEdNiKZGyDtCVWAni0ShFeUw3/oqmytNHPpH8fLYdY12ZcP4xQ7HjheLElB2hRwBh8gITa7300iVf6pfaRzexXSy1M0odwDcW82RcXftT+Bi6kBKh52bR7IuBV8Bo6r2wO46ACY5iX8/BxotqIQ6K0gzY3sWHzJid8zLYxbJkQfFGZf+GnpbeccqTlyS3MG2FK6DaYx9TrYulIW2+PfmwVG+d1bVXsVgI0Ct7slB7HmdqdAoHyVHSVD10B7eWtpWlwuOrGeA7VZ0PHPac/5RloqfEq67U27ig2fvZwUQo1X+NcAA46MNrMJFv1ptAEHnswyFnJCUOt6kpFxwN1EW3p5OflolFM+/TDZSi+Jq7Goa2cWoz12FNtc4GL+9Kbhd0qReaGUWGem4z6KrxXd/bied+fZk4V/al10GXJMSTXoXb9CLDwww0qwkAd8URpuIn/jTXFoaNFO6sANLNbTDQM77lCjY9tlQKO5pAmTZcTJRR/bOGZJUc9Ezq9IdWKruBFbtwWgMLvip8wvqTisV9t+z8G5Hw10eb1jskOo8RcDdOGlqYRiCTyy10MaSqGrDsFqJNlkb4ZNjxIWTslULFcTMojG5P0Nd3iuMdeGPMhUlEl5o45t53U4Mswc4W+0vVZH8AKAHnQHxzO1dxYnlsHIi+IMjdk7kW/J3p5NUrjoAoRH/Ev2uVfo3SjiEJgQonBW0mF04GqDZ3rDwPHvErlTc3l7flFXX3H1u7UE33Ri9FJoeubZyGfUmhaSFKtv0CJpogvD1FblRTmKCp0s6IaJh3e8kPCnYcc/3q1Y0O1939OPCvGO0jevPLRcq/E9kBCcB+8FnCv+GQ5CqXkrNEI2DGfEqgQ5ehxrnOos/uoI2IWq7yUWPHcgThVW7i3lEHp70ht+Z0hs2SoQiluk4usnRTmaWeceL90XyJ3mFVBYt6ESQv69007x3Fi91uLOCMJwUBQvg6q5VZDNy8ZhBGwQv6NimbkyksKu6V0ioIV83/BSWQOizTFe0XcDOTIF+arXIxtbdWoy+6x+cdWnU3x/eO6IXE43Dg6ALXzuj7UXhvOTyXMgNJ1pxV2DevPrHL8vYxWeRXimm03Q5k24LsBqI7j20LD5aTvSRz9OqG6nzymNP/NZhIFCAKjGvi/pK+6oEKGqSgr3xUQPVfiH53nYvt8BBLTgv+jo3fBzpDWX3CJtjLQvZ1eV2PdPkwHyb26A37qMqBdejeswZ8vawP14NvcGx/+DSCMsTIflukwlrv04irWJSkTlNDtHmWpzK6mqlZwgN50uD0hm29qBKu4zLhUKLVDNG5gsKJIXIFEalTdEMB42bNV+qZ8OqnKyAjmJJlvXNXXlsWuUmfi5wTdrIYRpxHkVpUADuv9lOScJYy2JDLZk1wAyVI8ObDBj+lZySdsG5yUmK/kCg4n2ONwMG/IJTI+PjUqr7NberjMLCELdDCeQe81JD/wmOwUVChHJ6mQuYjsG0DDbfM25COBrPfkuFuAmJUn2FY3J3jBT4uNHLoZaz6HOlk8u9zd8B1ha7Q3dETLWp5I05fB3d+B3m1Kx4f1CbIaNV8Z8Mi+kXP3wBapSpeR3cUdmOyiTTmF9u8sotIvLVF+448Z751ZOu0UbeKhOwNRaIB8i7jJ/QXfBSviS4up4DLUmVfbYWeDybTKyFIUSsEeYcEp1i540j2JxW2Cc+ptEBALJ0JRZ2T4HisL0Ov1x+rx8R8gbbvagqNz3kyH6jpSsTBf7QpZ7Tt4Y8Z1YKxrdGSKkDwD20FUHmcmmKqhwCzbsm4zkMaDf4uFqjmoYHBp0DEHMZHBd+FLgiqxi74GoqJVyaKjzqgyatinpBlGekByFMjSpm3LpZUk2SdCkK/7KOETlmxJwpPEimTOP/fI3WmKz1Z+sl9VkSHTV1kJOjZoborKIKRTaGSZs6b6TtXJSakXCNVHgkqc7QNAi+51i0u/o5I6j3sabEyabIHYXBHIvZT1sH+dX5rDOW2dFBePh9zL+izwff2NLVdf6WbOn8VgPeDnjqdK20/FsrWiUCYmd/qs0EOBmL/5EUaOgwHmEiAb5+p4W/ARrVNpS4VTgX+F92M7DKALKCYtgoPTsvTxXG0bZbgVOQeK74sSCV3Ftbq+n13zYV5/JmRFCYbJ8pQctIzpoZdktPE2ErIaE+Z1f9aa6ZJXcBEaWNPyB4qVVgufmFUyRAWeGJgUs5OyBRXxEGxKaa9xC8a6Puzop6srUo3bdcSQCltxpFnyKruMWILiun91zNcDNjczhd8XlDUZsfCUhkRwYTEXscdzwHs6WQw9LBL0dAXNPOAB1xLUjD1zvzlNw/QFFzS02MrWCWHgTLWzLB3SZ0rrDO5GEce4gmVzrGtQZYD24kR00okZTs5rJzLJnwd4uy4WueFegV6aHpAA9tDXhzwaxPlwh5CGCOIFngssOmwIexWW0dB8dSK1LRW/kvHpCJNgKSjvcerdUvCAoVmgoBBFNWqH5G1CmORVrd1GoXbZv2Q2vNiD+77OOWB2K4zB2itSQFDcxtDGfmZ3GJ2sJ+8hvMb0XhpHpaS2O62G/tdi/gz40WZaMxGgNCI0UcHTSpgKvDAe97n77OUkjGYKkazp5hhHzqc87nRvezRhM6wRgf3BfwFXVREVbinm6Eboq4Zm//OPpmqYYTgwrGyjyQ5ThAJw5xLCcsnPFR/Hl9fNgb6ra2inIOupw5rA6ZyyeReswAvboqPqXPgawoi6s+334Ba5UFxkLip8ApLyzh2xu3DVKmhimPbSPT5jdKESrZ2ylYeqy4DplzV5xOJNZAF5tzlWdE5OtmtWDWl/Wtx1yBqvZdQxPINnxV+hWKzvuO3bijzOg14N2ERMk1CaQuISV/lfoxVJOwHZQB+aHhik0r7z0mtaNkAjDc/MSs/H031SX8m197Es31rWfzjyT5T9v53+EpTYeHdTGwPayCQppR+jVjw6Ark/QwyC+GCALzmIw6/8T8Fs4BxSK8usF3hR01RoGJ6lWqj0qHgeLLDglhEUwtczz4g15QZkIE6D5OVJyyL8ixSM/a8AR71+K+OVdcTGLIy6CMCEwtwdGfSOspzdvkDYrsMubar/C/BQAJ7NlQlpzXg04x8I7gQ1KROouWWJFwlzKOEQ80omAKkGvriV+InKFtXCwFJRBr0iObhJ/bWqT+ASod94K1K7VJtj4KVqYVvvf+lR9zJC2/3/ZvZEIKPg1/WrH1E4U3XFimKEGi6K/XgaUKmT1Z5l1Zefklj1BHKhC7kSrgnL5H+S5nG2FFUEneNdvmsbNIkfnREuATTgXtDZsUk9JmNM7CP33kauhQTa8+KQiAyxb23zP1eOaEj5erBRZm7fHq9bFmazvdhMZlNA7c9OpiM/lCcOh6QfUU0FnR8/kfdB4lshtll2lfHV+m5r+zlJFQDgOizEq0+SYlbdbOjWrIVvlkPPql/icr+z45i2rtBp1Ws6TPstPPRsf6nQMDVhjMP6G+n92OopUY6g/yzpI7X3zxd9uW1Yw+QrmnN/FbMEo/Wrj0MXvTConryeSUf1BIvPtj4tSsLRmlw9dVB/FtAMFnNYBrBu3BrNiBHjV4NKTVh599FAOqDoE3IaejrTZvYTBH/gyOChUoa2rG5r6dkpDXG9FrDwDaWF7jQqsE5P5qed2UtZGBcZnrgbXHgO7ewJOEv9zbXNj08XVIwVNH8HEohEQAu+nTl7GTQkG+1V34aiS9opFkB/Zup3H6qp1uRw84f9Oh0BVlR945GzdpHRMxPrUkj7eFbL9ZgBf4V1zcO217STqWmuxPaymOWqz9Nrk4CfaQIt4TBV/+X/RCuCC2LI/ozL/yTTIlSVUdaE7CZiCN7gqJJcEaoVFu53gq0amseVyubqfVohHhg1BI6PQvi42e322gEMymruAjg29yfDAyh5ioVjOMYxsIfWCR6V7Omu+C6/GxwyGp1Ndwk0IcKikv9eZW9QTFIe8jTo8VPvWfj0zrPHkjAJkYPWHp5wZ45VUfoGJXwqga/adZI4Dzr7GMTsX0qomEn/YjyPQDmAl+rXqi5xpWesVpyMLyf2JUeypGTzi9Suik8WK1xm5PmqfnDA462iJ4NluFTidGiwNSHBeLwxS1LdfkpuAtyg3N5MPKlzJW0SYcAPV0aFGcjEc83gMEi7VwnN6xs/J8eaUzmSl8oO583SylYYh1QGmhR7WHcno5sSeMb5OISLz/r2oHhHdTAhCgPa6SUtoybPgNUFbtkMMN6YycI19zl27w88CVjMsBH0BqWhT+p1cNapnPDL3uXtLLzxBWE80+gVu3IaaXlbaR6HSDM9q5zOpkn27vtFIrjuJB+5Gr242+9MiW248SotbPnjhTjyKOj3B9CfXvCXl4rrKjJ0ncP1RctMhnTqNwe0UtdQfQ8CMUroiHloNLpP0R/DXmnTZRvyAOoCL/0x9t8wYUhJ/tnb8KXc//sSNthovzmYDqrjvtxnDj38QfuQITrteFhbNRaqO6x5L9HeSUfpzMSb5Cfy5U9utsGwXPUYkaREyxUHujYV7HdL9HbLe+Yoe9wLEgtoNDNdjNSo/Q2WzjkvibUqFpkNqaF107+t8GOlQTU1BWsqKVlN9z2l7IlPMkZlnmWK4J8Key5lCnW3TNsmuv14iB+Q/DBN6RHta7bmizzm84nIfcGm3h/wL0hImHCYVJP7EQg1DFcaVoZi6hP8cYQ9eA86pEJpWuPPfYc1wVT/REGBcJCakw0LaZ0kVFFFwaLl4RO/WjnlmXr5eseVbnzxu+mP1GJNDoR+rGuo3Bh0QuAtWuhTrjQt3bfiCa+lehPzde/8r06oZAHhKXuseaNP2m2nTtOZidqUtYZTfdY33cqt1KfC08GP7zXuFRHgylOFdSV5iZWJwRmKz1i1BnEg7q6qq3th7+kfJppcg48USJ5jx0rlWnIrEfW1S2GP5U4u8T0yDEvLpRgKwwjQLqF0Y6sMBcSzq6/23nRJYVIiz8kNkhpuhejSE8obUX+gbj8oQRLh95pTX6o7D/rBozvfsoqeKtLh/wsrOUs2NQMRug7qlH3o51B3CH6V2Rhq1/UENTDAZiQNvsTvDpJnyf6FralqpKAeRTzTyVuBABuY0M/JAfpiwql8jISG5BI+1DBnfhYgmXmrsbKgegU19Rd5tx0eaPrCwL7b4sdRFSoh4ZJQIIUDVdXcFbv3mkKBzgzAEh4q4ovEk0JVPM4fQZ5PXqIGtkfJFbOgn3TXGbK1Yj176TONqKtWUkIyPxYl2hr3009qyD6SlW2mGDDydqyrCGFEqiuzM8uaBIfOIPpMbLChrpyLd2T90Q3fkeL7+4Y0RRBayb9h3vy/YHV/DBVfZM8puWs8ijgW4dgf/1sBJQA+OCufrmGuhSx427APzdj7ggEddBcxTZVPc56as1UbQPKekhso8MXI68qoe9TWUGXTczfOYCYu2U6R1eK3aL0ZsmL0+FCkrRo4fPLnDgAEGDUI7EOMExSUSHO47cwKyJ1j6pXXfkzAomb6g2jd03a22I1WY8cWQ4L/KwfAwzXXybZq5tX+/fQpwGdAmJCRN9ydSf00EMOymlHxi0SoEtA8zsjzPhxJ6J8mvEonxn4Dqwy3tCaE1cWC35Yze499WKQPvcM54c5ucurS8GmkMxz+y9dJkrsN40KT4H5qWh+j5Dgu+K252eTC97I548RsuHMQXo5EYImTGDnhVgz9IYZYF3vq5g0G8G7j3K3hFdsA+oE+FQeC10/0eSenctpxAGXcypey3MaSvQwpu4OEpgZdST6O977Bc9jaI+TwGM9wHpFYnMUOOT0MyGTCrdgSXJjTUj3EvsOpq7B7ZJRs01KuBibrK9ZTFnX7vHXl99j1M4rjCxOojxnX9x66mnsQ+PmkAn9j/lAENgPePSB2r+K6GF8f+/gMrd3yEmeTQ/aLiR3mfCpoqs278amfZ6qMFL7CB+QhhBw8MdME4IEZk+59QgXX/0AQ6XL08h+g3Y1E08PTMGKMqZBrQY4J7pcU8hornFUFEMNOtKdOdOrK0VKYRz9O4BNXRjC0TsJDAG2eS8ldSj8ZfVuG3holNVUHw6meKh5VHIgNaRbX/HQR8ZXWg3KiagEGQ1tpJijuknXHdoOGlHo7bBvCZCN9haESlFmPF6B/6I0Px2F7lGwWfSHAdLToNpokRaBqSSfyq8+c+ZIn6ilPDZEtSiuBczuRGsf0Vsgy5E18H/nWKtdvI3E7m9suwwDLpeIsKCkHefFvzqzl8OPwLa34Vbh7UzGNbye6IF8zxcMrA0XzyIYmcBsygxoh1njlMygfpQCIIK8e/v11tfE6HAzbgEzxc1abT10lxuJIFglm1qDevGm1lm8p/4famq6W7jJVHRKRJd2QlKq9ReHJKlFP2gISO51D9ALh23gTXSaAsdUpGRIXbo/tSy/wLCUGKWEjT7U34yuSZAljZbypEIiyjc0Nr9L7I/6jJpxX+sKJWYRtyAQzAS1KdhQUagW2HM4dH7xfdeOxiPfxdPAoFzOHlVvZqYmQNxcLKPS6nvwQwj3EcAP97CUqPgR6LnGvt5pVkFclNkwcg6MAvxfizET/GRFt8tYOQIcpNddDx38m/gsFmN68VOOCFO9dJ0wZr0DtoXq4kRST8u+AdQrF7iT8bDXptXCXQFooqnkWMETMMJeIfooWSJTVvUFkopmAoqFSrRZXbVzRtAmMTOuQ6zXwutD3I+PUnRa1sEcDk/x9pWrcya2mDyqQveMbvacmVi/87Q+7739FcZA/SlzfLznzMH2le99vOLbtKtPgwHCgig7zjHuuNCwtdVebTu6qic/I2lKYcFaV/9JZSUaYXgw/LzM8Drp8++SHEcyrR2PHvIwywpDFyRDDkkKMlDVPFPC0tjvWhQEIFrL4PeLuBe9/n3GjLlOdj4gxUXB/mYK1hi5ei/zXTclP/dPWVfOcySVZjGXD6AW1V2RZIzkS/L2oeuoBSFGnjPHKhvBGYhCZGJ79Ve7b6TTwG0R/OyBbAw4kEYOA3bUHjjL4amvgllJOeTWB9aqb5M1cJb5H2sBkay//WstdoPRHoqrsqoC2u3HmW8xJ3MbJwIdzxgJvQ6h17mHaPDvuKj1UKJ8Cd+UusmFnZYU3tStudOb84wfL9LCc14wd7a2gGZokVhpXPTlcntdqxLP0p9fMNAe38KywTNRW6o4yxcsmRFX3dMC6xQY88BXHPnrOM+/kdHQr87hM1pxLXfN3ii5/JTBm0CaCiGOzgOLnJuBZGS9FXETqPqoTlt32G3p7QoFnCuazr1ojTVbjeS0ZvK8+DizRxjw0ZbKjo4F+rz2gUnpv0itthTmDWEI4YIHWSrVeiwvDyGN5NoHqV/ev25GOoWLu1kd2VkYZCZNeY2nLJzwK3kM0qo4iVGOvv/dK7Yx3YP0/OSvCvNX1ZicOP2/wpNSoaIa3ImOXcRoErsKcu4qDEXmbKPlAVJAzszgzXw4HXJXvEAM1LHWvPHRlpAtNrrA54ccd5BmefyKwvReWJcfhNxy6oYgFfipjjZuOCP0cb+HuM2UwPKqfh/Zp7IsY68aCg2jJkfuR6GWwb2n+/6E/PU7OJOdkXd4hioWJyHhA0ju9D5trSN6MEsEFo4MqkXsvjmW5VIOWreVbGj/riP+0oi1kAovDpo2udHcsAKNizLne45NVHbWvPdjgc81zkNhNjNtXpzdfZJ0UpYrqnZM9Akw5Pc/a5jg/nP0ZkIaHEb1nxy3kTQMNrvqII8WCDcpeAenWpZuLZtZcAdc2jdG90U5/rge92vSuRnPj+FK5QX0cTj6ONIMxxnsUXhs8joTgOQnmptmHrofDFDa44ZJ+KwvXWhQ8I119F7LCs8nd+YY6o4EwYnG2Ezk4tuO3QckAlp6HseRR0qcFmC8JaCkmS8A0ROsLdhXJ8Q0uiso3tDyO3Opm3lY0Y28BRFhTGsyC98GvpVIHzc8B2bWGMWQEM3nCPgPJtVY+sItVKUrbNHBjSsqL0Ye09Wjsc1Ff1fPejD3GvTLoiUYHrUNrF5X3YVWvC5PM4grXbBWGl8e7jGXKdQdN7kFOLdW4HV9kRTP5r7C6d2EyqBtxGoW/SeSuJcoBU4/KgeojG+TMBIoPio5ai5AXJ/Fp034m/OfZ88XId26FtLt/1U5v6H6+GF3/f91XuHlApibYOMnWQVpRq9nEQ3SF4c7rtfu5NGwPb91gC2AV/HwYZISbp012884vSlorydJTdpNTOQ79xAKX1nQ2p05PzutTdHF6RmEUgMVjuk6tBs/1xuLjRGLhEyD/OcglTFcKqk3n05TFIF4yEleq51xFSlVFpmu4cNIhos+QOnU2I2Ff1c3XMNUlFoTwpRcFr4IMwNcEFBk8hPybaJcKmGTwV8ajPNqWvrHvvkIH8zkNx3YbXhvMICvHReEzHlSe10Q08Tun9+VfXnaQm9dCOkpmOLBkDwF72DxzEgdR9lXcB1yYWATGhMRJ42cMseUvPqRFM4rSsKMHORIJXgVQpZzzLF4J8eAhoH9VRy2kri4IGBU5YP5YYiQx64tSGk2P6KLmNo/vYlb+edMjFUFIxlErgzmKWCpksbt/YixLPL0ZMaC5cRzkZempGBEUEGNT7LDeXMLE2DtFsZ2crqiRRvvI2BH+hYecXhCM4vhfEitbas1b9Mx2Of0ige5InvN8JRfA/uKo8yixSlHspalntHf706LiR6oLJRMfHxFRMUIdZw8Quz3WinmqLdwg15GWIUDTHs4QukzEf017zJOH9CggA8JmnUpvVaiL1XgBewGQSD5/+dauFfhnWC/D2yd6hNS58Oc0pcawm1Qq1dES9uGOQaKsrh/l1kQY4OCkojBY2pdliyjZGX61EX4iXF6vO5RW7zt8It/YUULFxCkx4HhwS7PzsznZWYjlt4E3uj13lSmTrcdUjXyXH7h4H29UDB30EgGOJRsmPDr3fBOYhsajvVNhYsr6g899Pu5h+Qe05qru5czp3r1BX3GAuRIHftP13qrhtdPHU81H4nBv4SGlDD2UITTbHgBXHuOCYy3+f6ijMPd+ck0BmGZbA+70saUJoUIfvrbvuOu22UbkYDzwPQS3XvINQpKRFuEqY2huddmAUmatTzNAeX1rByXw8swccKSdXy6vgT1J7K3seVMdxjzmrRjh3V5/QinM6NkDqo5NK4jCBuqdF3uxYPngQadoqFmAL7S1FYO6Ffl1J72ObC+d4Kv6mDunm2/+YFULmUEhvVF2eABICfTjuIxBzDPAUFE3JDynyzYS/nvVjrVHpyHFuaYeMSLAGcq/znu0yb/+P8eYUf0aMLeB2KN2Z8sHzyp8u8/rF5xA8Jds4Zghj6iBTZprA9xJCutN6kyC2OkSQq3n6k1VSTGL2EJqhKXE3NzfolKveKSRtba25IP0AgUfCpcBJA7bqIyooCz5MV6tpMGiwE9NwTVm0PnMY5QBxxaiFm2a+kPculoSS+8eFaCqkTClUV1DJzDngesM5S6WxnlYafznqrYkPXxHpClFeu3RY4kltjMinYd++LSS4MH7MVF65mvbxVBUhyPkSJNv0WIA9w7G84N1l7OHgg//Qi9Oy9VthbOU4cYNhKjlyVH8o90Kc79DZXS14g1ru7OmOx/aQBt1XyWTZi0+IT4vWckdpbmG9Jv85o19BuGgBYyrurXpVIhqetZoAHGc7BV6XTO1CjjagSlh95ylheweCYqcsM7WyUXEEEMN1CBHCYnroi63WuFeAwOrv68wpla1MpAj4bLE5D7kDe2NzoHr/LuV29K2GS22oC0bOMJIKUOXNjVLW7JrkHdgATaqS2G5Ky5pnoUV3FtTi4Vo6LPhcBrOdta4C+B6N4lZM54UbDni/bxr6gpuHy73dLQt1NIr6lMjDkn3IFhGToejVX2lyn+VL8vUaXLnmlRsiBlGcW3D9yXrx8hQX6FEMJ2HxLEInCkoeaout+oKSe25yHwSxZeBtNQIgrQM0jsegew4ieLI5LxTrWwxJqv7l38KyK3628ikBthYy8C0oDNKo8jGpSSAhRNzmL+opyAFhPq3+R8kxQc1Bsnx3VOD2vLxD2NSJZNJj3dh3Ti6ja7GodWAOFJA7/sAGLg2v8f3KbOY9qbql1n2xrjgtFHeliiy5gb1beodGCea6XTzo/ZQ30UeQU14XhKALyJ10JjPas6Dw7Cbr6pGtw4MRZe//REXDxWBFbHPcVjj+vIDK3Gv/CYLPzVTg2gkl+yCpK9Ovv22J+PpDr499jDiTnucUJyalCtdKVuN97U3+fXyBWSom4Glqs57egC8A0Ooe5OPqiKK7SKSRJZCc/mCpHusYMQ07ki3mBnwTPbfVxlhHA/AvzW2+7lUS51aOuldahlLyH49xr3chd5QkoFn9B02j5vNGRmJyeovzD/7qoevys1+9TdRElgtxmTKYDWS5BWlHCq1Dag5c5e5KQF9Ef/vPZMb5pUzz8EdOXHsDXBbjLirp6IF1XWZCXj2G4BJgGcFohGiTarEAUUZ3dtNWSgzUhYoFu1G4z6WT3ghcnPBs1sxAJOdFinycGzTHSOM1Ieu8OkP1ZbWYTWg7TtezEzpdosP2s5eO8yH2CMyyI2MDVwHXTOrU3u4Z0xKYftuX1Iq2cRVbv6ZrDblmSNh4dd0pV6Ds0SX7bEqsKOc5LzXxM7ejCz6G9enTGyyyWjQ1AZ3+3nOClgc1UUuIbzsM7uqpB0dBcVxIoP5VZ01Gi/x6xFi2FNVs0hlKlFlVSYGaTSCSRnfLKvp+W5WQk2/AA9LwXi66yMV2qy9Zz+88PKaf16Cj/DzNd64ibxDJIr37j6/OmYhpH+OgQuXKeuaT7CwQkUdOaHl96kOk03YyxLikE+7QUq2NQRWSlTZB/J9eWeD97uoyfbS4pEZFxy2z9zO45m27EeGtud6UfIMQ7Lmm59EsZJhgfcklJcgsQ5wxuQR5rfHAqSb+abKed9OtTPXF4iJpXx5vpD6XRLPkZdf8pY8/8Jss/ChWcoz4q8OAFA1GPS/A4FG8k6+GBrL31vmZvasdnJZHYNpUNCL7OvFWDHzKnOk2ZRjI8hwCNTdw4ozwPYmH6PdgFMSOOE0y1ZlXuPUx2mvnBY8j5t9Lf9VQ+LVmPAGdsJ5kHhpbKOe8ijva2s5W+p+pN0EQ4ymsDOoQMxuo7pJT49cl8tiHbZUh2/fZ3Nsm3LD0IBAznR98AgaokEGAytjuHzkKNbgBCxk3zoq8YK2w/hPx25WsdlH/0rul9VHrmhzDOXWl48ee2jR4ufK/hFzqkXbQsN+fJrWeX1FwzmfAhA32qaXA6Cu7jh7p13i39UAGp6gOTb2FsmzaGzuDXvSIm2IDS9vlLwUkgDqfit6xm0Vl6pw2qU0uR0vx27wzDNL5TMjt0YgsRZKc4s1vbwCIzGf2IWoukhN8TY8v7/q4pTWB91XvIjt1zTRlfVwZX1cXZ7Et8H2WyO8gjvvjVOB/COnXJOL/5y/JEyonImgJv/FIcOorNxH3y/P5zZcJ3aOQXbDbYJc+rcZLCI8whJSWnmylCK2NyNd1OCBcAr+yvZSD6XqxVx4R+LNIAa59C5PzQXT4QlpI7HHTSRmJhQTG3zfbpeoCSqm+H5XOpaTVals1IA3mvSIi6YClkUlnFmgXrlZmo4Pmkp/Lxip39C6xzZSYzdSg7QdDWRHJBy15xkMVq7zvlo+LadHV6wJav0+ckINJ2vrYRa2K0FK/PGRD72hmECv4vs5woXUNlKpNB8Fy2ms7wamPOU6ik+Tm9u1gmTOcYuTdjbAr/bC1zkNyVFE50skCtVxE1tm6Yv4nLbtFlsv1p82fTPTQQXwqQ6OCHZp/4hHqPw9TmVKmWpUTWdnGobINeXal6RptpNJh/iPpdnWevPJlCOZFVCZAnm7a9TeQ+aRWwR0jcS6hoRtuwo5K3B0xOzys9SUIe+I2IquI5TsUTM5DfDaPeysnk87JpKqL44hP4bl1yeE1d93myw23da6Sw6vpI381u5n8M4jWbQVvla5KWswfYegDMGBhSsd2A2PX6bi2nBxIjQhjjF6jilf7bYSfxfOlUsOnAkMNN3wshiAXVXGVaeEXJn68l619mDg7lcmHC2nj0wBynGsQgZM1hQLiedSMVfCE/Fe5GgPTl6CH5RiC+eR78cTsP+KIkQAXlbVjiavSVlQv6eU6Lg4I4r400LSAQxltZPiJoGazVuYyra/2oe2Li2qPcgddGiPimEbPexpfDlGXRohuK8sAHZUrcOHvGzrq5dmdaQRLjBUzOHiRYO0hOoc6Uywu2U3pixRIdShDm42VLiLaMTnofK6AX2idC//jPkTUZnILw9sOKDDxinQgQE5CQOoiG29JFIG+W8vE1uQ90YoguS0QeaUrGvtP4Q44sp+WOhdlEUE0Df3lCpmvNYKY9iFokaTQWWHXe4ZYPufl1hk5krQj3UTrf8NF7U0xdDggUfDO/VhAbaClGoge78rpTfjv1AydxtHVxIDg0rBaiX+74CGol5vZX6MUmw3Ix/x5ioZiJ3sW+UAPtZ9rwyz54q1v7KqUABXlWwGffCh/7gsDynuRjwurTTZwLRmubkUy82zimTsSG+Tzye+i8ybWWqEw/bu2CcRW2u2kFfBQOr8aM1B0EoXGePWpfSlIW8tVvEXJ4JClePEcD0yObXxPBmB05lGc+FwQpFEC5z3LDzesVlmulUkAr2d29HloZcR9DK0DiTVaR2nZBdyk1cK1Gh2Wj1o15pq6OLsJCutJs/Ym+E95+Sq/H4ZSJEuTGNNo2kWKqnKCuDFdPbOkm32xVl82E5ZBu/jwPvfA9JbvQMecQukB3ZlHauy2zXFyoXoTTuukwwn0P+vhebbTbYBpevFLDyUWzF9ZWrbDQAcZB8YCLSCsA0PKYguTou0YBH+UiyJCFFNVHDzxSi/WMll3tdY/TjnNXkbpzLz0V+xhWD0IMzyPBsqY73TRRIXLkagNq+SK2Uvk0XSeXfvXa48MxqoXX4JnGHytc3ij0LiSUDkYjvv8uKc3ngrxUVvikpgaMpFf92Mh0+VH2E99ZZXC0pO/UY3AoYpPT46E6gqpqazLxSXrlknr0Pf1wUn62l0x/bNDTQdfekNFbOBFkA5hCfcl5utCV+BSUEHPR2zGCSDq17JADWri6cs+b8dUbZZ6u1kPjr3kqwmlQi5Aa6Y5LS381IdJM3LQH15NZjTNOAntu51xLX/dlfzc1bjIthaoAZZ0b5OKc9hO0bdjudiEtGHaKu/NZyoay4abPKPXDf+qI5tnj0xivsspHlRg6yTFS5Q9O4gb+fnNCpULDTZaoc+yU3GSE18z+N50pQFJlKea/a0NxH49Y3tAWmv6pYNdrpUXR+5C8ockPFdBnisLpgK1y2vakC/N7J/+DnoLSmiVPx/pSrcIYjuCtAM0jmQQEk7vQXinP51jLksnR5igNoo7oCehA5NwQvcC51VTykKvCD4EIwBenJzsIVGwy6skYriW1M0dLfT1xCGxN5jzqDxNHJjbS5raXDKtF6WIxBf71rS6TKl9+e0zNR6dQh/iqudDDhYwfy06JpMXGRm9om6o4dQgwQ6iDBQ/WH8OZ5OkAIO0Aqs3nULWwk0156Lj3/xAZWMyar4sUIgBj8d3Gv6+1OavYJLUc/U//IEDLrAcTuYPBlHED98dHjoVBlGo6bdALyDOd0BiFAa6QRYgNOdTevxaXSvrIyJfOe5qZ+7uP96IOOHuYyZB6OBpu/hxF8M5J8RGkPon0xS4Ag+ATCIa3jYR+oDrg5eM1qmx8RQBjZmBPYZX2c1eRHHhP0UXG7UH0x6vZjSx0RKiUJ5NNK28ZafPJSo0Yy7Eg3C/b2cPZIdK56StaZv0LDiG+lcJWBjoLCGaNwDkvGbJXruxJgfCZzaEu7+C/Y9jfRCFESGyFg00KkXWUFAvqLWBRZQovmg68ivTvCpJSvxyfUDZBMlrnHrgoKlk0qxoyZcCRmGsbbZrnfkgMPKBXFW6OH4iDndYVJlJS8rlpSY1ZgMzpc1iKnu4/qCKGw68cQcqcFDJR+XuJmPNah4UZhabkPHYYSkToImzcVDS8be3P4k2MJXZ5/kuQbM4G0b7vib1P1pX4YG11FE+FVMse973zCMozstV8EDAH+AM4dvywiN574vn2/bBw8KPdEPZiwXiZZ6iduoKMUQDpW5tYbQOz9/izUfRxjOUf1/PQ4WzIIxRfA2Z5ETsJQQfaEp/t+Z2jvAQ5nxyLtvtu6PkOECHYq+H6g4+zTi5HVlJOuTUIg9n21gR3c6hxeBrNrrB570PkXILP2TqygkekVd/Naof3jWSBjji59s5AUHEB4ZlgCMsew9BtKKmn6J1n07b1UbJ2wEfAKHntik1wdP0/PUmlpfINLjnepGRdJ7ev6LsnSkrCpjp9GnZJsTCDKcZL0SWj4CZSGqytrhQMGXSxHa/6oKTlLOxa9FYt/TVjHEZ6kN503H0Ch0Pk3e22oER856QPsHOTsOKbNSrQSGfU6RcUhcglGPg7m3EvFl84a/rEgjCSboInQ3qA/7Ipqec1zJXH1QzJjdbpoAJMmp35hmTKamKRpjPNao4zbFgYBP9ZoGjoGhR05Xd+7ATnjN7G4vtQUDle/Cy+wtF7pXkXYc8CmvICm4w43YqF8uaTrKT3HtJxNOS6qQEB69tsAp73FeLyLCQ9CKka6C2m7AieMT1zDc0C639wqJ0B/Y7dwo8MocMGjLAqsbr8clLwpyizne6zcCOY4iqeSInv1Mx4e1s38l1yEF3aKLq7Sgq9Hla3OKoI77x6BH0I+69PYo2GiTdKVkjQuQ2gfQHZh5rW807TUAo8vV0SWzswV3GLaEO1E19g6qwgwcwbbciOaXrX6+Yv9dpDWY8yebUFKsbzOLmPRwYxjLb4lECSrBfzZCd2e2kvbeYIFIthaOr/CjV52MSZT+elyfSjKlfgUaYn0Id6YNVld4mdt3FhociC0PTzEriM+XD8h6fuxoCiqSbQBi9rCK5YUmhtSr/G1xGePmdsQr+gHxvhNPo84lHhwkiwAehThHlZUtRGa/P6cLgJfxF9UYuuf1d/pqV9lV1+HtHO0G8R2WERjuI/XWVA4c0tAF3R1QTlKFOXpZdpCeSbRHWzpQpW0Em7QjCiKXmgxH624sLVPSYxLMEltH9OAFyUwZrnRlrgMlAISPoExyt5o22Po/bIRe9nPs4D9B9PtGE0QI0Gx2Z413kJY0gZ6MLyzsrjbK7paMEBHlrZNUmp5ed3FRMYkkltxrhL8UaapIB4AEntHjU/l51yC9lV547TACe04TqDkg9mw82j+UE8jiX63K7BnTQTXWjAgEoq4ZYuE86MzHAR2xmCiJVp9YHJoaDuaWER8Abu7ncNQ5H0H5YO5HK/40gEVDiMzSFcWEQNuIPiZyTzsiUngg7Pv6j/ZQDyajE7sj7kRnN6yPyrVQEZKHx+KHk/Ci705jkiCLo0jpb+KHIzdu8bkTiMBZDMWPvZMEA/zOCFMjOVG2lyuyJZm6gQQgKILmeph3ccZKdk2zWXlt3ZAvnAt7nQm5jLV4P+jX5ek/Ftgwi0CNaEfRrkBwZuuVhXyOCiKXJmw5o179wm+SwZueP5p6w9Xx0naBJRNefyle4JAXbXkaDv8Z71QfWxWmX3KZdY9ZMLYgAwHF+EQSPCqgqOWDjNRfSGGXyt9DdIyDls+S0AVLcW+zCK8NKi+PyBpvAUjWH4DY8Bo+vrsfmrqBBFEzbfi7KgPI1zr3G0ZLBo8ThW+vwRem5rCbNajk91YtlycTURsAzDYrZ2BEsAhpaolkcuJblTBjA69VfpagoWHEnt7ZZTKhzoZnSdE+6v57pC2X0Qzo3gMICM79Cmzp3xW1lYlw+i+tBrDbmVAR/8YvfX1fTeMjrxNZpCcgg7OkF5LAX8pscYwnUTXaCtHLuzLrqXs6cxtUbzNtFer58STjVJ6eDI4ecbkx+7t+EloesiF0HG3cxij1T2UIbmFAzn+ltU3Q0WjjNbNFBmLIrTtbrQ+WtVYnsPzb4Dsq9F/2OO0dq9JW3nRdyZjFtnDd0Arr9VzxmjgutWcWW+AalHsejEh6geHBfkEDWCt7FJd+qb2rHfiByCoAflxPbPBy8Qnqr3XJFc1A6hJSB4rh7hO/pkfOttuL7XCP6TILyRb9NYhH7jLTOM5qhSd10Df4cFbyN52OzZkY02oyhIeMTt6k+hU9AAmiV5c6bIoitA16jy0tEd04SE3iKHas+mJM4DjLQJySSyR4dyTWAqI3YeejAvcCu7S60vqzrsc77nmFuBw6nJcv31J5ReJSS0kjj1pWA6q64wgaqMVM9rnqhspWEPlCQOC+6QeendfCoyEbPisCmOCrxwl/o4mQ3HT8nv7iksY9ABOdTrHdkktknCOTjeXoJegPBUUFKnykoLME7omJhoHRD359puDM73uTL4ZATm176CPqK8/awI7oXLvaOiA247K11Ots2T3huJGCjLuheNU+SVRvIBK60FeOaWlslRyxYKyDHW7IHrYi+VSr+3Cm6JnED2Q3f1TWr5CuI0FuLxYKDDzBJ+u/BWfb5x/bGUtuMiggC2Oxe5Hh5m7AEzrp+v+VAqM2dnbpqQcjqy/eSG3uMKoVlVZFZZ9bvwZKrx4EMTuY3kNwwX7zVS082hmvxo7vOpJMVVxfnWPcEhaR9SnHdqsDsuBIZ0aXkef+GRcddxaIBMexNwTc5VpWBuzQjentYciGZ2d04e4CqS0U49ol9zwtdgQoIAjB9x28dGc71UpdRZmGhVZTsww68ziUqybJf+OiFA3OyfsADTJAQDE4nrdC9Ehu/YKgPJFoGmFO73/zvzLFZJW0pxOrqTYCAxbrs4vQjgKbmK5kqLdUBUzO6k/UwvXdnDuq8zIBAcEyEd94EqMWY8aYyPf8ICY6O9EHyW6qofITCvr5OsyTrhqVmNu7+QeYto3u76IPb0ZiLKeaBAEEbRyNFoRjOwwUMXUcfzbTvkFfKEKTbdXROFmyAhzxOu3KpJomLnJOZH33j/t9tEsjVqyEFlDs0eYV9Fr2zLUhUUTVmJPRlxdufDMRevL+ASDRLGK3KlSJntVxs7LjgQE9p7ZjP/sg9bqa3xYS8TCvXxsjjGIBFSt7UEbWsxOVfpQFsmgh26NTc9F6bGoH55j7VOFvTup3K4duaaDEVcnrksf/xV2mpbckaqqZSrebrTF6jIMvJoXsWqJ2EYEcgXff9ttv/djH3qlmgsquK5J1dPHO8ebWNcLKP6cK7qlgyRGtNqOz4679p8L3YfvSnccpM6fWRWysabyuF7yaF50eMo+zWT8rewvt+nXCVsWRF2PhXUYmt804phFaPy2ReBiNz0pFV+Ub+IULn/uDJrbQo27gZrW4QVBnbAMjPsy5LlPgZNkGK0pBvnjd0iG+ufRp3FA07x11q2sjb1MXnSVhdBA0bxF75NRtj2Aocg7/7J6wS1jxYG8fQ1gdGeNahxMXLlrWNLY0ZBIadDUYcegc22kbVDRc8ipNhCYiaDYAnNV+JGMxKF4fv8gQN3KU45ivk0uvY3XWvM3Ccu7L9lfE2XJr/t60BWP/52WryulkrMKMFVGJu9RDrC0+YsHDnKb/ckymsT5D3v2oUYJDnYQn30Y4g6KrLNH3ottCZ6+msjrGKGu31lV6ZkSFf8QT9YGqViuDqVsxlnqd34JP4d+mVAw2KRynH2UiEKuNXhoci50TY+OgPjXP/OgjwL9o8dTcSxaC2BocMrnp/PH4l/3dq+tYLNnuLpwaijtXCflsq6avaMgbRs4ilN9qp+2WjfNJM2OSwgDITuiqA/mdRCgUfxSpeYXBBlAzQGiTt/18Vrp2uDFH7F6IAjPMHfb+IEb/2UF2kh1tLyfQdozukhCazN+5aMuNHytmqrS/dna1rtf5YtTda5xyE2HrcP+J6IV2VJ66ZNbcg3ygsVmDpvoB9h0ZymcDnhamRcCgSbCFcpZ9VlLhSrV929N/QVfDy84GSofiCSMaJyqYXO2tq7ONmxNPrlvIBHJJA6Y4cRHXXJfThgLaDyJP/JZI0xRWx596sKdpjqS7qAdsP0XgoZc3KDs9LUAFxdY137AIV63Kb9CnlO2wYVkDw15zWSpp3FyTwtvG991C7W/oKmL+MnUYgq+mBK42F0yHUZ7R3nTw89+nYo+cYklJRcJJiOKFtzqsa7sSWxscFJNQRCJR9nRMm9Fanwzx3gPI6kGPoSrbl19OunDR1WqfDWf5MAP1pC992LacJVQLKJu1vMFhHVuE6GV9K6saxAgC1CbglGjSEgUQJd8j1vnSJk0OviIifV67frvsJTIM5LNj6kM35Bu4sCks9CpPT7aNeHCxCPcLDdhTjEUEiz/m9xqz5B5gxuQqSWt6ZkPSOvIrOVS7PKeUZeN+aLfX2/FJegjgGnAZbjtelbLO/pSn2XWavlGRQA81vzOirEa61oBU56hLs55VpgVcB7T0rCJq9Qs0VLA0rHhixzvKiqxt86eX8lUNVtkUIQ+0IhLzs/WRjmCJSiwGNqMVN3MiU5WaROY1wyGw7HmdzROfdMZlYZDzyCgzyVBUxPEIBloCXboJSJMJdWvpos9kL43+g9x4FqdSEna2dATwoSkIuZL3Jy0boAzy+6zsxspGNOtjJz/GyIVVCN8BWW1/su4Wi5ukbyhkshfzHus5zhAm5JViF8oJ04SyrvQxx/j2Yxk268WnDykK1M4+SIrxCxnStOHL68/u4UoQbOtBVeNB3utDPCf0H8ykatS8o0i10g3AZDCSbl1o02yT4S2zAJhRKChauDgBVoFXQrcBCQhXn1+c8z+EZQKPkG08vPuPVKzBwkPN3cQ6Al58daaLRfo0PB7M0SuyeJEuCXkMyo41vpDOE85ytrT4bh/nICJVMDFz4epe9wdFA5qIE6jZzCTVN/XHFVdH04apd5LVrD28X4cQZtGKM+60zJVuB6LkcyuM9nS626xiRAP1hc2BjKcsgXTqb3ahiz7099jAtRnF50OkqX8zXynO0oRUMWjTBBcg+1xNQpgyBQVaA7EkMUbhA7JkToBme0n8l9pCqkmVmmjEp2hQXvR0h2EdFJhlJnU7SsJg1/fJ4gDtlkhq17rIm2jOmB3o8qeUBkH+LkqAQbjgU9X2TOu6Ef+Pqvc0Ch4goxzvObUTGOPlRpzm/t0ifQGGUjvFvHBxVt65PZrMzaQIQ6YzCEJDcuKqTmjbC6ri/+NQNJMoasFIqUZGTgXU+kG3/9r4ARKUfUMlvDXxwEU94DX8HYJTNkHNgJuVJkwI4fGdn+tfCIAD5GMG21jnzSNKC4nzP2ndXAhhn8WQYXW7FUjk6DOzw65kD3E4O4GRpaCqj0a45LI3oWUeS0DBD2ZygmTFfxJCy7gs9TV1qG7MsvSRrEBIFUsaokBaFs9zUeFutf7mvoRH36KUTFrtXQ3Qg9qeoAUDtvmjnvY5cs6lzNgYJUv0w5hwXooZqPU1X8Ti9BEyVUHVmCXYQrkgMnYF2qvDThPa6PXpbkb8z8XT0NYFL38l5xh2/ICcdAApUsG8m/+s4m1IpZmRuQp0vBF2qAG6JGV+r7w04FQRdXqWPS5xQDfULDKfFNymDEYoLHKgWtohiFGJHnkZACstzMeTRPVEOvnRyJ6e/MCjcP1P3WgCpTMb9BBdmfVOBc2Nsd56/4emBvUxhvYkgZtpu/b6+IdL91n0LuaX4FRyOoQqQnQLjJhfX+vhs9L+dm1MEPq9yrP3UcsKo2xQUOVqGlJyMr/eV0pOr9FnqT8nV43xwjCeIIFY7BcosKpxTT7M3p94lswAhLy/dzCQoL2jbHI8232RixQFPNiDaLQgGCHcY0aiM/Dw+PqDPwzc1ov0Z5BidaY2Z4lGtLCAI3RRPQGt6kktScHaZGzmBX2TngjDfQDDD/Jzst2PpigDPN7qUXsGCYDu6ggczW2dU4C7jkNbjKu2ytcGH/Ou0Fws6NQznu7XSdt8xL0yXlvmf+AxafIjNg3LWs6vl/94e8N11MEz5HrfE9uXsfsCoyHk6sCDu2aXkrxAcxF0p4z7nmBuB4MDyh5ZUdKfDAocC0b9IjGDo5jgW87ovAH37HE2NCZmA+UtXCWK8QqqN41mwpRslDLZHMac2OSNOlOK30Ik3cG/O+mne8RUkl+ejbbgEAzFNh15DYjHWdFtPcWm2sAD+QEbiEm9ed09VQtzQo4iVmzDYNGzTLavriVnCR71PbcqBbjdnZ2iwWDthrJKg5vxbT6EP0VxsenO4Z+QHqupdNlkBQCpHH6ldmo1Wouin6uERvezbPeddYgwSP3aGED2p2vui3IHc4vKmiN/XHE2Bm4sgb+K9yIbfAGEKVig06f8RKthH9JBS+1KkfLLI2ZcHUGDD0SxI/Zn4KpV9SiwVW44saXrN7aPrz9aswfuu2Es5z1Ghh0HhzV5IRUcdlQLwGQklJn7hw3oZqdqUed8E6t920KqulJly/XErzHiyNveQAr/H3675zXytj1mc8UjqSRrYnRdMvM84glWcox1Pk3r8o+RqM4t6+T1mat71EjDSO90h4kwTCbOPuB9yh+6EdQpk2yhlOBfuXzWGEuTbqLRt1i1cYtW3hScsgh4qRWlAOaCHH3WJtTzEOWWzfuHvd1N5qepqIJvMYrKMGE9PVeBoiDb/Dts8PphHCAQMGePyXQV1LmvqwtARvtJgR06tj32NABjgJPFpzymVMVe7UIR8LeHIBBxEIrCYqn+GW7c6LOTjAD7nyGd68X7Xfrewr6Ivi5FkBY1pgfoleeWIF9DvBQtDJltrsUknagqt5VPKl/5tlVDXdYTQe+4nWzaqevReKcKdnOHcuI3nLqk5VW1sqF7wZohRtpi2ywFQPrPwY9N47vE7fRGaPaoe9CVEsPjT9mdgXpicI5E+d0zacxEEdKlKLwRle4sQ3pHJhHIS0pzLkVyrSMPt+cZtlsyl/1llccZ9L7UshwJxGYdCd7llPtJ/iAg3BhkTtLV9eJsbXpYiB4BGG9K6bRmUycUI3lyWeGHcBaYEaz4tIDkO4I6YaHi0i9s2SZ2fyeEY34x6txTbYomMIvynASKwC54FVy6j5ax0qpBDjoVG78ilfbV5LjCIJtfpDI04nRt+J0CvFol0mIHLoaxtZIDdSRO09+WL1+N0qWZ8Sfqp2/iEb3ENYKJdphyLJTm8N9JgioWTJcxL0IgEafnFTdE/y0WciqZxSTfonRlUSRp5RyV8pe3134LsZ/lvwjSL/R69yz7Y5y2Sv+hCCk1qTFmxzNz+akWOG1C/4qYbfUaLm1KDN49/kbo2RmxZeQb/Y3W7nEs0y7Xr9P2pxUgGeyaA5xc31JAVPyJSmNmF5ize/Rff9+WW7Qm/0OGRkCbN1xgfUqz4Ppex8AQyZGBkHI7Ata7M+6qWNyBWXrZ5bFc2Fc0nhKsH6yGIr38SyGbx2qkaxc9hziP4wbAp1Eokyt9exJPp53ezByYM1w70sxHHQXXWsu78tWaRL6VEGrgQbXO26Q7UUUgPnpRmM17UQVxfblW1yyR6YwegDfkrIVvCKO+Rf3AnlGHsmcmDLIjCPAF5OvTym50DsJP1d4/L4llMjPAN1t1yogqe7XwmKNsgNVDDbpOAku37mwAz6Rrg/nbEvbd9DZzfVuxzaJaoP045WZoSyLXXBstHlvA0W+Yx26v7QdHwJyt57UdRbndWJZA3odmMXfK/Jj2dd8RGvxK3EGador8f+0ZViAnEQy+WFNSps+0uz3DLZpeKuY7mslLu7wqWBXbxzwD9C+qsn20WXuLPHn0ul/yQgP7hAlGB3QFvKeLv8T79BiDACCbFZUS/+geAT10PiAP/ZlgGQM0xodsMO/11KV3r1qdQIzJgkP7HF90TqBKZvvPuyX0/28NG6ITF0lT3V1ZzAxSE4+cwr+kyiGbZ2we0TvMLZs69xCHFgEKpn0L27Mq45+jz7XbRTjdih0XG/jgU6tF5JQcB0dSbB93XnT4du61AGNBBZqU0m6C3bCX7qQM1hRczCmrc2p+0AQZONpy1VzTIwfynL3piAD5lHK7DjZn3BwkcZb4hKmyTlFo0wRHgc3qdeyOvcLRWZ7zwicqeMjZx+wf8PGgwGCpmZeRUTnhCrhIgI+aRF8MjEywWl9jE7mGzupllfbSHDjuk421Feq99jRpYhtys0/I9rGnQRpG+QJCGdnx4aJUIOFR9XzbthcH3qD/IYMgKpPRjb7Ygwr6FA5NmyH7GIwvYR1jafnlrLNtbUlS9BMB7EraYAH96oFuFVlyD92jtizfQ3hmhwDe3/tCKSx8FsANVhO9MKuwdS6uy7SWOCeEtN7Va4vKm/nzhtVXXL9IFf/oKJ3Z1ZxI1Fx9NaCLZBBFZEV2gKVzh+t+mlYC0qM5Tw8mPNdT7/Jm1eIc1dinYFcDlPmdQLIDJ9eRibBhaQHXqp3BKd90+/CFgN4GV8h0dvnNSAGDbmLERDPzTkxKkhYrX5JZ2TG5YBPBUlqujlWhKnEif8/dvHv3t+TYlZNYFEHRPQ12Cp7j72k3Jn6Btk6/AgZBa5VQkiYx3sMa8nRuX/gUcHiWS97ygQxCrHLvh+DX7yr6P/d4Py3Vj6HhzeO4Dkl4ZTuhKTosCdkFUCbpxrtqfAbj8BHzlJKOCYfC0JXx8YzekBfgJoVT+6zD8zBDaQsOT1Ij5JN/N2n48QhMibXBNmz1MkcvxfwIHLvQHqdl0v5MbeMIy8sub3xTn/EiKNWs7BVRYqK4rFET0hiLaNdLoDrqOJTJy/n3FmhvP2ubtwMD7HlxbR+IwrrhfgMlReb3609qJBQG+veufo1TM3RYDRiwbVe8OygSKOMoh/uqGABYCurIT4kWk9Bbam5ThEcfR/1N6Jbr4U+dVTcMXWEd8DU6pHAQy35i5RfjIjFqxMAW1QXWgXyi0zk6CI6b8CPpcgXrQ8LPZSvBIn+FJye9lXXjBmU7iWEQg6zoM151N2if+duTMgLcAfxQQJMzTXut7KtgbTuk5y4U/su1JH7AGZpcl/yMNbfzbylDsJL8PtZuVSEpHPViIOcIXtaDpBNzxKtosb0VThwLkF7zo9KAtk9GvxDQUE4617CsbAY4DXU/NYLNkO5XtilaYbYZxQoqqJECukluwF/JN/KblqFGIWlZwDpy2WxKHmwG4TyHXHpMpAWtxT3VVRE4UYmxbMNceT9okV0xjOwA7S4JHXMR3qewP+195e2kPctt01MtF10PkFkzqJKEiyttsyugmWpDm5gBe+oTT7nKr1HXI1NsBWmmBuicEv+AzU65xK3P1z68O5p/kwHQ+3A1pF52PaONwfBlo/qiR1AdRTETdHIasXO+BuADqteFH18iY2yhddkvUJHIcpkEvjxwVYioGHOtaJWbup0btQZ/TFXigD8o8l/SdyzcYSehPFomVlPuI+U5eaYvH17KjlhaOw8O/pDBabVpi4S2tydbEF2tLc048ij2PP59f229C86ldYjGTOMIOd3rFc0b8KA/K+gKjh/NzU+60b5RqscwU0IQlcQUy7jaqZQWR+IP1fn/8u6+bTAHQv0cKZxqg4O14kdo6NHV6CnQJ+mwQ7VUgeowGzrUlqGk0tIQUJQyC9Lcf4KtYPB6QNIpmtRT+EralwuKJZfW8/O/G0GB71Z55X4zHwS9u6TG9xVf21vj+usTNBC5QVjZBMJOMvs6bFb0WheCa/NjSCryqMf9JMk+4MHP4S1jQBJvEhobhrh3Xc/GoTtQ0TeZfedFD64Svs8PhqsyA/8ctCxP1Vb0IpWkBcX5Fls9XYK+HfCEqfiSu7ZGjDtlS2l8OANwj8zwTdXW/U3m2IsPDwulZVQjKd0HJQywq02N6Umk0u4FM3LRiwS6vpokftypumTUD5yTjXe01nDV62UVRskNazJ0e6EM4MRY1maK2AO/TaYaY8eG25u4WXZnvOMM9hwPFTyR0Ylsd8vrzNlAPZ4YSuBZW5DynFaExolYpMbudZuQ1qYZY5TaEmB7AbNoY7BFIUxJgrXeJnjJUkmz5WeoUUrf1wGp96p9ptLb+4MdpcZklyzS82nHfGG0Cn4YIuHiyvOr68XKs04Ta6KtnSAbzvzpOiqybatnR3ilPt9k7bvSundmqb6XUNWbt7fRAvJUYgC893ja0IDGgvXkNr50JGaMmspVM6Dhs8m42PybpRnkUt23uP+bLi91jVx+Pr9JBn06rJ6pBbfThRaviq/mmQehEg9pAzRYdKcx/74Dv4w2lzJy/UzebXQ+0FE+HyaTjQnsqeYfoF1i1bINrzF/JgY92xvLLw1zvKe9tCXuhlVO+YCVzoip7d2JITiBxnEgNhuPVAPn9wEGan99fbGS2Frh4DvGA7uIfdnm4O7uWKj4a1DJ1sF1eNMrh4fKrnyMaJHvUD4TUtOiDtlkNIaRnHwOTTNrH9rIILRAHvMvVNe4KOu71+034DzUMA6y4JmDOvnISkTn2uUu6+SrM8aKFJe2eZpSTXx783LdWYFrIwLc265TKT+HkaHbKha3NHPNDG5j91xOqyOJd4pd3NjhUwgYW0tQFLWTrk5X9HpAGbRpq5EMvQDhO7Epn7YwkezfW0SJU4zqQBj2X5A3QphoSD/mhPVz2UTTwO9Ke1o9vos18ua5oniLx87csALx+ZNLKzkbfL6sj/ndYL1l14vMTVKGAAmfM2GsMbb6132hBQy+KT2qnS5vZrctHOahvhStxf0e3UnpApvdEBjbs4MOSTIVRx6VBIK8eO92Wr43zkhqK/MNvddnaY+jF1N6/427HQKN3b1Z/37RoyAn7jyoGJU5zxSs5yWT9eZn3zM6o9OcYbcVJAH2HiHd4Www9OV8ObLzZX85F5BH+8hohnUMC2aNzQBil+sR4nZOu7jl6HZG/YcQi0UCX+Us+p/6ZQgD2yyT3VSkbq4/DtDBNeULSYlPSQ50e6yjIeKTUPZ3s3yJMqOv64hUc5iiA+isnDpdNwVSXw1P5LDtWMi4xiQ8qaoe3/coGex58Ln5BbWotZons13kMrcdhICPmlqC9xVYGI5h6lrgUTnPQac0s2AzlIPazsBLlmWN1n4pRDmx2kiAoxc4aUCC4vMqMWFdnQSGf9rpiaJA3CFDS9Bs7Ps0uOZkD1YwCSGRFI11cWgrUarCdfOfEGRxiL3OoCiDddz/SLU61knx28S/FMJgFcuG461Uhv5NwFhIRGPlRqZqojmXwt0d242UwYFhQlA9OusYpkG/nuzpnGhIHxBYiUlZFdI1qmkTTwWuxsKFuby5HdNmOkdaR7j3ygl0ImlRp54dzv1Xd72zX/JuJKe/1cId5366fVM+YtvaMvpYBzH7+AAdQ4gEU46xen8rsLlX//EkK57Lz4Nl6gmX1wfKhwUE4bAXz3X01oLbrejSRb9cy23CyX5UAcRqwdzDIEMekWDbY5dCzNFoMVPuA365R0Ud9BLpbZXiJ1virMAB+KZK5ccp+AT2KtrdquzajJPB3DfsIO48qpV8Pblmlc9zpzAfbve+/cK/JDv4VWpYk0QdPzHYSWRUZ/Rhl+KS/jO9S5tnL1VrbtwZWtUD5NQ8I0v5CH0l0bBrNaRMs5nA0C9h0XgxKCYOlgkMNIpeAAuLaagZi94h7fz35PUuF6js3ZNKcCEkpxDS/4+YJt57grGrCSAFcnClTW2BQlETiaxvzaSr0BlSApm7Lpnrv1chcUmVLkPbsK6qxhj3nSoe05WSYsRkAKLHrAlIV0LGGfgbFEc/+3ZYU0alqM7NN+uakh/JacawrqRQN2LU+0T1h1gpOegAksIAsrFrkfNffCWuh4dF+l8YkTm3rxyC99FqpbN9TjmTKvJmtHYa+EFZyH3mqWiry8HBcAf5+h+FBQNl17mUGMT/c3I9MZqX/I/mMl/ITxoVIFgwhwDMyaczrm7jBqHS0d3ABABHun4I+xHipMYy7UEi2qiQIrfRXbXlpwC5OS6yNgnjbY83/ikvNALCzBhLaGlTDiBBMg/qVLhfZONp5fB/BPE+Ufac1xYrkcr0RGXJG8cxQrxJjjn4GrC2iom/jofxo62OArY0QOhBQ550PskDEVgxEyC6ixcNsWB6rdb2uaBDwgBsoSo4kb3c4TsgOhDfylFSQ31tccknU06JSkaG7if0BSMNm6zUx4e+l9+BrUXA61zgGHXY48doPBb+pr8OAQK87nF4qM8TcPKnfftiU8Z8XzCOnol4LeiasCI5MO0x/dr/m1MKBjW4N6gNKXfbw3W+pssh6zt+bQQzLTd/b+GpRvrRowFKUTXK7vp+mveBVrC4TXEPsbDXDMC+STKwAJWv6sj9tLUxx4l7nPT0wv9Q2urXieTV5nXKmcdCvwIxUBfuqHZ1phKYwDs1IUahmKwphqeL8KArdy3T3BzRglkztBaXBbp3et9GJZmd/VkV37i0RTihygHwsGV7WJq0AbKC3HnRa8Ox2I7gieRHNWs+hpGVqRgIvCNFDw6S5Nx7JksnsSNvD1verlz3JqJ1yHXys7yAKlxSj1Jc/Jzto7SHN3+xECpwwiGpjAehujCj9rT2tb7oLdc5uVGXuFnOrWDHf7WSwE/2y80yB1Y4ahJKRzcJ9gHX7ZApPRrYvnfnqrkWAXAIqJYbyvs9brXRlT90VUFLqpwNy3+s17vtHE7HsDo0TPQkUR489V5q79wraSXa6k6NM7HrWD8qeCVyE1a1KPqr9glXV2NLGIyqaGZ5xk5qZK1MwH7S3OayBEP9dqMIayoce0j/++OEFZ7AjfxotLBGx48WGImgcFKS5FFZTlfM3jiyQ3DwPZ0gdalzTSifr5mUcvMzhHTvPa61DkKn565zaJPG6n9mLhM0v6eqk2ziTsxO3hoOoLiczKjxn5RvbJxrFakOP/4mRlf8P88RP+z5SFRfJ8UrzeXXAHhOxgNpjRaaNdQffOwOBCKCj30P6P7Jc/U5Ywl0UYVJS8+sw8GF4FvA8ia6yyKwjnvQ+WvpBmIlgQekC/+sCJ0h70QQsOOwiDsqdoZQUbg6PZGZV550aWT3S0WQutNrwSYJ6QYXHCs1xxPL9zSuefdOVS2b79kvtv14Y1xX3e6R83s/ESiML7ppopZ803uF55YjTAWo3kwgfFiaDphipvW8e7Il/wmBXcB0SCLQOUHvx2kbx3R6P9sbzGUuZoXv2V2ScENO3Aeur/6B1myFfx1efAsWfRfvuVNnemFsY1G82IVnkfm6IoDAiJHNiQrcjZCNdnBJ2YwmOqjw/VGJf64uwyjcfstkg6NMIcTXsS8l7pzNn3hLBSktnE4PSFQ3HhB5Ehgr27H0rRkZBK6S0eObPuxWjTSU1BmrxHNG623nf1q1+cJV63tOIl5AywlrtNOTbPVlbbFcZl3imn8AHaNtYOEjtepaNc0/4HKLZi4XM5N0w71ZpasXiMEJA4XM7UJmd0cP2BaRN3antis8IfP5gppy9OiFFjsC5a9hWGE83jWDjCNiVUVQ4UMl9PM5rf0xLkS8cyDnfhVmSJcuefJtHHOhHubUWeqAh8RAfNZOUOjvd8b/+Gl9SsGmOv5HBUECnzF/IixnGUKROPG4DnmKnSA4TUkF7yDOUToUH6Ib4AXtHeHD4T9cl3C1zz4pK3kr/x/L6CAspjwWBV3iJjaQLNLECJEmJ77/UDIWwCWgIg5dw2e9hO3Cr1EVmL9EgZrnnb+fUPoZpJQ7/lh3WIMbhUHpXS1ZWOfcD5MfeNdYfgpGdMa9XACdHP9xU+4zfa+AIyr/2ZulVRPwCK20a0EdEtqeW/uwce28TlHeo5VJfIcGTX0NzU//g/kasZbHMXiis80W/O4iK/1QCC41ixjFgjtPEalB8btEJEcSrfYbhMk772U=">
            <a:extLst>
              <a:ext uri="{FF2B5EF4-FFF2-40B4-BE49-F238E27FC236}">
                <a16:creationId xmlns:a16="http://schemas.microsoft.com/office/drawing/2014/main" id="{3E592704-7844-471D-9FE0-2D974596550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79730" y="159893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1D1967-39E9-440D-95D4-3AA3F22EA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0 Most Spoken Languag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1401E77-1807-417A-9CE1-8B04DFD836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185108"/>
            <a:ext cx="8229600" cy="685800"/>
          </a:xfrm>
        </p:spPr>
        <p:txBody>
          <a:bodyPr/>
          <a:lstStyle/>
          <a:p>
            <a:r>
              <a:rPr lang="en-US" dirty="0"/>
              <a:t>English and Mandarin Chinese are both spoken by over 1.1B people. Only 1/3 of English speakers </a:t>
            </a:r>
            <a:r>
              <a:rPr lang="en-US"/>
              <a:t>are native</a:t>
            </a:r>
            <a:r>
              <a:rPr lang="en-US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23F819-D1C9-4831-ADF0-0A8E39211FE2}"/>
              </a:ext>
            </a:extLst>
          </p:cNvPr>
          <p:cNvSpPr txBox="1"/>
          <p:nvPr/>
        </p:nvSpPr>
        <p:spPr>
          <a:xfrm>
            <a:off x="6370321" y="6489708"/>
            <a:ext cx="21765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4"/>
              </a:rPr>
              <a:t>Learn how to make this chart</a:t>
            </a:r>
            <a:endParaRPr lang="en-US" sz="1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BDE039-9830-4C9D-B099-CEC3C0FB1D45}"/>
              </a:ext>
            </a:extLst>
          </p:cNvPr>
          <p:cNvSpPr txBox="1"/>
          <p:nvPr/>
        </p:nvSpPr>
        <p:spPr>
          <a:xfrm>
            <a:off x="457200" y="6489709"/>
            <a:ext cx="5935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Notes and source: Native speaker data not available for Standard Arabic. </a:t>
            </a:r>
            <a:r>
              <a:rPr lang="en-US" sz="1000" dirty="0" err="1">
                <a:hlinkClick r:id="rId5"/>
              </a:rPr>
              <a:t>Ethnologue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16906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66AG5ReQpYFfnVbPzVfVL1cNHw8vvNKsai3cmLvkGjUQwDBnRCqQHJ4idrCvDK9SLv3oeFYExzpCK2wANYXLi+OdDe8oxAxM715klUqBgsYMyyjEaxcEHN4c+TztyaxsQRjfek3AoQNVbSpxXvBYNNkRWCBiZL+Wu1Q3mgT2+D1pIiWIKY41uKMx+sMBuahZddlB3jst+HuAmYb6CIGUY7DL9YXZkzxLwY4WOYjoj6ERYayAxyXMZmhTAGRhCpW5wTqaKiDwoSoo/FLZ0h/3kgdGAgCFTLpkTAXwq6TOIlp/pkC+AjUvAi1ECoZsqbczvcLIqvppmUyJ3VG9nde8yK8mgGo5UKHeqq7H+2chA/f1boIXaLuCAepazQO+SQaKGNo+Fj4qCRfRpp+mDqiYTz73+jLJHPyCZoyAAeLFGAlOdOBi+F65T9vW6wJAOdnTUOPO3ckR6ak9I3F6nsP93/tKIbxFglKAxVqqr6ALXJvuVPNS7yHUETaZxGYJyoWRNszCa7vnmPCAa3gNLv368y+LMQhnQhrJ3vYKAvOJZ5aTsdTCDayyZoh/ibo3kyhYYpuFUYEpER8Iu8B3z2vh8pezr9B0z2P/IBx4rw6rfYXrhFpY/kAKRFK5QO+RzanqdIi8NrocJBdsHoNZRlF8BTGZknfUYMJ636QNLYHi/nZ2/4mFL2qndQQVvBO9VyCl5ckdLNpB/fjpi9OILaB19DhDFH3a4w6Pzu1I7/Pu+XnFHDrsmvocHJ6eruPgwIqH7i9stLtMlkRbZlMX7u4XUcYTHAN1Qr986eBEh9xhEtcXlb+c0CtiTOgKmvYNAAcDjanMwXqPPbNDR6NL6Nq4GvR4yZhYCQoyTH44MurjN5hrIYpOYZaGDU4p70YVHQsz4J7HeN383kx4OOJI25OBDpISY/gmAyq/uyIW1F2Ljs6mxqaLZKBNtuumpPmqvt+y3+6255g4AjYjHrqGnwmiB5p+aPkS6SswmzlM2phUn4kpfEI0uvc3uP4cS9X+cVxdc5TFqsR//dc8JhNZ7s8hzssMqxx6HAtApLt53zCC/WGORxbFDQg1mnrozQH1ZEM4naeCce1z2GidvesQ259sLAwAEHToFJOaHRQ6AdGsCHLHtQkGf8noo9e+QOPKeiTNVhYp4yrThMMlrfbppDeW5JGoF0nY9K9mTq37po3r5d9nwiHZ9scazLUSJUtLEn3Vmd5vCv1e3nPaD85axU07Ehny+OFOhmJV+HkrCp3742DeHPAFW2WWRCAHkBp7PodCFqNvAnyc8yjdU9OdgXqdt3xIW8ENnvag63hYbfax1VOi+15WUagcDzkZG9YXsCBJFtgunNck1UODjJGUCl2N8ReUm3+ew29ETR3Xn7GEjzFecRLsf4LFmLDhbt9SMvpVW86wmKhZA0mmXLQHOxdM1bclziw1CDKsMTEl0++VPG3bAUke9X6gUlB3u9eHJ3ITIlqUunkWO/S1StQ7KJPtLFaX+c+EAUgHf5S4kuUoI3dNIFy6RvKCngEY3+iSdqwKHsNuQfEEQ3n+gYn7HZD/TfA181DjkDtwcUvAhYVwy/YrvdIfvTnKI7xTe1cZz+P4edW1xBE1mQANMwexLNuRDe/pddYuEp0gw+9UGQUfeokxj4D2f5qNR44jZlAdw0W5yssOveL8gXpuSYhBnsNzRsS9MWGD7XpKR5xo++hJWyb+fCuwoEScpTT9o74M1TazGslxBhoT372dnt7R+gHHTKiWT6ZgnZjYTm4asV7/C+FBt3cLdhmBwQ1KMyGkd5m+TbbODW6uw8v6EUi/XojgwqSB5q4+bEQQ4qOjgxrKU1mLVj5Bjgl1LWZuo7gdZhOShNfGUrAM8d70LhshOU0e1bs0JKB4+9T+PIsZD8jSw/Vo7xqVda+2RthbGhqGkTYwF8+4w+PojRZA7JsICMlkNmKCwqhZP9cCs+ri376Ch8dqpvMGFueaBgspMGxKU1hccKDRVxYAMzeCBOWUMCF8myxdRf0fFDRL7PqMKZ7NifU8oykkjOr7i+mQCCGU6EeSKRCe3WRX0QArXrxAqBLcfMI6DyJ+QZ+OlygViK9jZAhPlYP93gcmSMLx8rUpKHZte12Z9XsmB2PEF01QABTSnGJc3/5sTzkFXXG9pwcN1VCe985glYXOuZPcYz+MgnRh01eGvmRxuIER4KHgBf3X1+esc6CSNiK2A24TcKsYvocpdMMzFDsU0VYZXM348o0p8qsv5JALytkbQoA6kQtSakfRnxdpAxXOxy5T29dF0n9NpolB6vMcwVPx+WdO2QpPbaSbO1MIEb9k5c2bwKC8sseUSGboDeqI6fdJ36+TMClEKYozD2cT0ZB/9C77wacPTknD52vfsxV2/b5svkoqXs/RZ1i/66o7yaFA4qNLo3w5aCR5TlCanSsRf6NQCuGxGMksA3+PVnyt2Jr8vND40qVXwsD+3GB9/8LKLENyUB5IwNltvMBkwgCzXiMxpBl16fpQyIRz2+xfP11z4CPWfjmyKpqjWdleRqrMxupPgTVqNEaQ0u1E75GDabPd3+kaoKDoHljiTGo1tDYigxeRDKiW3dUWLg/rVivf7oepffKZfJ4ZFFOwiYCEnhuxuUzK7KNeATXPGB7XFCId8L+b6lNlSm76oUTTdgwufhFWuigbXWUtSAIiQOvh7SIO6BkKihIy9EOAvMH09X2476SVGKiYvY7HdRgvrwR+sasW5ejF/Pw8oGhLZkiyoCsRLNKEHaZokerJLeye3+LbsNxRpc0lB7fqJvm04WpzE3yqkpsaeerWPJBUhwBbhT3kNSabLybtqRmFeK4RKpUf35F3klGC7ODeost1k+xiwSZXtIVJ5fh29mS66vfjtK3nwwhs+mYhe8lPhKkBCrjOFrPffO8bUVBLatlUL0tQmM4B+yzXheRCxKsNyAFWSxjYVeZvjZhhe1JWqy2MkPCkzkfVY1pOjZCvhorntF1ICNHBkuMA3iywpTsLtpMVXX0JM16ytEHVx5k0rFqcH4eEHzXPt8gPbFKj4LltG7XJo1nQDwqcOFz4mwMTJHCyAuF9SCzTtXvXl1EbiMEf0pp5rXM0AzfWGVHPas6vtIpvCj1EkkfQTBrGnTP2y5WRyUYyhwXhBXDMvyRXix76CcA2G+PgmEUPRSCJMukLAHxrhMxc/UmeLWjfGg75Let2XY2E1cq9Uxt/LMpav0qhr0pjBQ5aebx9q6Z1iDspNPAHXulGmZDQC73l1Fg2OsnOaETnZM7MeuEKmsSgL9P4KSaUznorV8if6LLiiMK7zh8o4U9kw+o57oVU8AuUcDyqp8EVZ0spRN3Hqv1mvtB0zPOVf4vjbGwR9dUPTBxXDompB/C7xAYCtD/CgVzzmuTzmKjr56CzbMlgtsbzmiZ+K8+HEGo/WR0yACbalSuUFiDop90P3IC7STv3k/eM/DoNV482USeIMbF/qI1/FzJ5RDn6etEGbJJBzkNFX7pQSxy8SVpfLjQDvkUicXA3meSZG+VGyOAbBN4+byu6O0CuXRST18K3rboOBd+24RLA5XltqX6rEQ+HeRqGXyd75L5o29dINdfAj0RWVsSHfTPKBR93KH3kfIRS9oST4a/XEKoXU6h/IiQFU4LYSk+UQoQNoCa8SWpbLFGpBTXPqt3Y2Vv/nIk/AiIeb3KFEYnfRxZdumlZIESkjkkPI1AyBVefThPhCOtfFuSBi6fJUOCGGgVv1zy+TuA6bMVSUNqAHqZ4t/OAYfmiAfsS5h0d5rQSUdOKlXpSuJJ0Y2LG0HGQGehjHksaQBXZIvjEpoaWZuB4ugxR5mtpmT3L42x9G7JE6aP1g6F8W6/YQpXKcOqz2JcIvYyrEFrWS8fR5zQDpJ5/ul/aN/IvLwnUHcLgEmj5mtlo0AUJ0jRYqY7Ey0c99b2bEkX9IbPKSvFoB/HXYmPX0qylUgCNlkDodLhqVKmabfCNtZuGs8T3GldF1PqygtUCrGQJ6HrGPJqyhSoql6Q5oSnS2XQ92XmsX77fyaE021MUUN5QWswj7V1ue1antcNa1e5zPEus2PS3iS49f73yxq2aQL5RuC10WMr2ECNqejtSjwrDsgNN27J7rBUKFh8PN6QOSiq2VibHoNyRfpakThYMd/pNrdn/0lcpZ/jg5GabWBDF7Jt17/63pb+VvDF7ZzXo9garj1hCNXpPtpbEYBmt8ajvNJNx6gaOKufjqsrKX8sGLJRCo35qqOQyz/JionRfhI7ohFx14RrZpUxECfeCyFDSwldTduBKjO1cRgWRreoI0prtQO3ducJV+kDkzHBMWGd2NLOD1qtXHuWbNRmSxaq6oJd08/7Yib2FRXVH74dllrUKIpPek1CEtwQYCgjFxG+srnmS1IrE04t3YQftZBwpOV7b2rH6xvro8d+GjT3e0PDiMz2ztH4W0q1uMT9Jh08NXGxTwiUbGkysRIkYGi0vC3ayLicrZRAo6Fe3Ugx9gj2pbqYEdzQ3oyT46owWq2Q2z2Ptb3/x0wtv/RugpDX6wScmMvPC5nXBOsYDKN2cgAurN/O1W04oao8kDvphBbJmRvxpWEmfo1t/oN9nWOtFKPu+GxqKzVWtV0DF+GWHTSyqaVBP7Wq69rZCES1YAfVcnKMNGWU3EYcOZJk2k4gJLtgOgpl4mz2PyCFZNvHV4EnD7HHyi0eNKqiXyDAicS71AF7JODew2zFaMXXjtt5IHUSj4746E/5ABaltaGfsXIGJX8ISlGmnKvLey4mKhBCUIQLcKGrg5xs0/qT8eZA8azSZLZSnSa7y09dM7LSU+jZAZ0v6y5XBBH9R95BDFD2p2vWx+CwBX/+BDz9mQPg3DfGUvyR091SJoA4/JsQkZlo/ms7RLQxguTpcB06BJGcV8bTwuwrMF+KqdOSwMxPSegqN3bZbxEJvqOdBNEhHKlWKOLdCuTrGvTKQdw6kQ8yQj+1lO8Yt5XcoXJ/y25TqNlulQTB9nlTcWu/3RmsGAuGh56FaOKMbz+mw3SmcUlIsuJcrMaeJMa7d2RF77FQtaEIuVscdpzttCcmJt3M05ikx0nEmj8LK++x/NAVQxcFNLUCZpaNu7zROdu7ME2c9Uy+NxUtU5plrVypX0l8MddHMqteQO2M0x0dlXhS1cUw4YZj70xOspqM/3+Gn5Fk9fjR8rObG4yxLuXixxmGBPkzC6rINMWblf5TfJU2thp2xtvfBv9Vj7TeldtG6FTySwS6NyvqjpsZ6bhf2wLakpp5j4oc+LK77v9EYHemA3TX/rCR3FioHg36EGOu1CNJCmAjVSJWTgsIsHFhqtlJdTxwXnyAoXGDCR7Wi8samONKvF71YgPdWalqhLvlOshrfALQTeDSf7pz/CQOU0I4SIYldEyTcq5d7W6CQgpqCuXUCyh+AYqyfNBjsbv6mXGIf37wgi4xh3wFX+Ba3NjTP3fWzaotgAaFcqRAAZRqkNgeFKYvCmTLsNgomvTk842hGF3FbjPK8JVv/4lwYg4ZMzTq6TCVZ5m4xISYxWnkj595WlFjw9toQY8Ion2l2FVIYrSTqkyGkCBqMRs7JkYC0c9k3YfF3CP+nXBa2acBeQBzFiKVK0F3Cm83NA0LAYjpb0GwrFr1L+mrA5kzIV39+5b3pE/bLkfjO6UqBnrR2ZgNEK1TkRgXSWmJAxYd2ItUh8n9PR8T7Y1BaCsJDqjckL4XK3PRju1TnzzCLOegarF8rlk2ZXQo1EO31+DAjBIoKXWXAxsbE1pWi+SZsnLfD3t9GhmvmcKjgFOGZLnI8Ze+974vnM410ZCeCI/GMK/Xu93te51NdYQQSP1+UW7KRASDzYaEo4qXDZ3NvCn8glfqhFi2mP6Dip5ybFrcMpmcP228H8aH1P59R1x6cVgcwQRkuSBlCnUxQF+2r96jK7UyitcacfOHK+zZhSBlepf89VEkmBY5z9UcNeFr3CpLql+ZiPn2kEj7pzZ0XaF2/E7BhTxcq+UJFT2SqjLLMk+uAoCgWTnz3fIDOX3P6VtSmmGukExTQ53LwUMsu3UwtYPR+3yQwJSt6lGz29ZYDU5Ejeir1NeZEaVH7UtTVY0f6/KzezafORZK9HF0xzK4u8pahj0BbTl10Oi5+reEqkPag5q7aROUYbtGKjUN7VAdML9S1XuBHIe2r2U6i6I4hdOaauIMja2JfZ77jAuIB0ATZXQ2GNmEqdm+FQV02JDQpv23ajVCd7/Esrfp+52AEBJFMubXtXYGykkWLxjtQu3rsPfCcpYcTPk0SbpaS0TFHNTluGMQgbowqkaKMWKuwzQZCRk5GTn0hmE7qcd5xeXvZ3NPsVyuomuGRR6JlL9N3Lb5ZcF8lsmmH+AgRqKx4cfoaQmtfD1V6cgpLNIG19UoErnyBXSYbenycwRPdezB8zpkOXrG58QvM4CrMScB3g43bDdZkBwRA9wmiN7khN+lSNSpCokfgjIhee8Ri+hk52475pDaTODtzD3Gxe374mKFOOX2y+tDQRjD/jW5AKf8XsZI32EPk6A+T7AakXKzjZbWWMlMFnHAvQ17qTR1nP2VD3vqkxKctZ93EIfqeTAovaThGg91SWSxLRVDsYRdtg1du0u6Yk2i4j3bb3d9hGNyyvaNSz5XiHeq3ZahLRkiVflS5veb24Oy4O9s2kxm+P8n9TS6B16yeljDI+Hb5hYnQ0vU8WdWa151bQP/i8RVH9iPx6QL8pd4FRJ5nU9PtwXXQmi5GzvCcS3buJgl9WUFeOsH3fRRWiNLCYjx69HswXAhtG2DX/mgz9oSXEO8pOuaoaVPb9P4n39MfZeJTjWsHP/kPj0YDcn+DKEGWWyBRJjLrb9ouPSIdbRHvZXshOrH7MkzHBh62HpIgRFbhtpvpTEo2MJiFMQQPfmy194cqQwAEdt+5Lf12rKtn7O0Wrossnf8ABIxSiQqG2MR3p1w3kMzvF4Mh9rm9L1FuDBlq90bAAw6kU1mqLNur9v9y5z5f8MXfs2gECKRqyKOlWaW3j1Jd6h6hx72hMgRpyYGisQaoYWtE+OTGJtHeqahi8MZYGC+EKyp8Mzxgk16LyOfCxorJcx8Z25VKk0T1UzK7/+bcWPw9jpb4GJQLGLAzbNY98g9DGr6aqJ44g6cBwBeGo/mfOcpJQI24tsGoiMY8tLMPhhpozha3m5JkIsY+N1ruUOWkn1pzkssnQhn8+WsjPk4TINHpZmjCsLSVK8iKljaWDrXAK4I6E5LWQ6WE/bmCubPc8SNVbUD0yYKUzzKn7s27RKtFyb1eZy7/PQOgnfNmog6RRwCyDTdpeb988pe3FTsx6aR6AFsK7YCDssY11yD6+5mWmHJvU++UrVTFgPt7HgnmD89dfVc2ZR3oDmYNtKVENZJcFTNX/yzjC+YzMOvcd5iJ1nvxYI8It+VRVmR9Lk2RN4ID5IEsWmrs/43yLgCGTovzduDsxR3ilXIfQl6nU0VMb5/JA8h3QfjiJxlVtpdLDckiUKsxLbeuOzOXNmm99EetRXd3lFAqVLQPiHpF7JwqdeUrvtI/GlMEcrQPVFnFcmZ7MW8Qk0BL67N6yYTSdphXKHwYzqKNGzpEyu/U+a7I9b6Hv31Nsg45rQ8Gs5FRo4cKIuYc/3JFanHiZp+9/dhcroBiN6vO58HQS9kx0UaxIhoBTNejyQrPMmxwvzD1wJzaTsdyd/ZLM5B89B2kpshD2L2w/bZ9gs39gc3Y4AnqVvwpyoFt8NAWsljmlQG6mEfsVAw/tF5ARZ2ctd4+wqOGD18fRIcF4i5YFK1rn2hhaD/EQ/Ve8FcIoD2NeYqqp1O7OEZ5VSGhIN2sQ41I9Gm9j72c4rYqQrcGCMENVRyLssDeD2DqAzDwQd8qaNCXmLtfJ4GQ52tqdmymPPtrE7E3NuHamj98JzjSO+mJ0UVZxswX4tonofh5uIVJ35xI+gTplbM91GCsgf1InAUpYXUo3Ne8+OQQr/XOYDj/+IEI4m8Ylf0W9O2mcmrmkJfRxpoCA5qAThJHY3P5LUQ2jSs/GDJ7AQVfy/oNDs2lyRyr1S9S0QV3keEPT2PiiUvnfFiG1Qnf8inHxvx386D+TnKfdC904Rj52bAOAygRmwM+LJcM0CYWODY3R/89dXtlUdpyhtyY7CqDPCpUb35tjAijuhC4Qh/+nvyoMguEbuWiO1jVqqicV9uDA6IniS1/cgVFRAzw1CL56fjauQG9hPSJRS2LJ07cv6c72eNV7kuGddGaEwgfa33PVLYtziFtENpRqogvjNf8WhCHxBAAqStm42XY+RTo/3IGrQ/Hw/KLIoEgCI6YvO0CmHioGk5eKyW9iReQKeGBdVIBHnZLdUGw8EtH3uk31FQUPLgkXqDzIebl1hxAH+2TQn1yX6nYeLw1uyD98Kmol8YeRN8x4/wEgi73Xcq5mFXRBTEWYqBWwXl8X+dpDJnkFd6hgKSjAFL9A6MIxPDvL4YXCFhe/xMIu3eX2aCb+w9N9ERxRnaV+hWyoP5yQMYiG3+UgWmFKh3RWsQ2rYWyW9USlYcpRK2h1Fc+xCwgO77aop0yYVGwGYS1FYKKn0oD0rrcejsY89imLkQL6jmQfDiN2frRnMTeCNS0geSdBgcrswfAuloq5C6Ue73WDyrAf+ZT8oW2ekubV3MG9WwLXMl8Ew8paQQWhhBRs6LMaKfczL0onlHDGbt+8RNPJunQjowLVe6W+3FMRDoJZSCt0UoskIq5tg39utKRlKuR8iqZ5lp0RPFUV2s+A+PQtCXhSD1q99/rNXu8nWws5ErWJxLyirMJFq27YXzfewTCz3rft2ZwdOONKqYRfdLHEkOJEMwL2AyOLfGnSJHZ/nvpol9DYoROltgaUhN4Z99J6im3+4tHBJXVUSJUlQIpTIVt/5v/MILeVVhkRcMIoETsOhaRA8mN/ido2kT8bNU+LXew1IXvJr4pxGVEKRIeDWeb9StrRCtmxkq4vk0Wgvw9cXpLjU3VyLnTI5mEEjnptIGIxBYheY4hvu9ZEvuvtKHJT6ELidHOuWcknSFB8cnMCUxqtTsw+nCJkiJlkknnsTOdcNV0J/aq5xMqA/1EYp6MOLcxnhGMbMgV4u0k18vmyRuXacGHzD90rnErjrzPZ5T/7Fm8CcAjQv4KhtRM7uuG+IJuR4SxYPhbjwGTXdMcRHr6HnZRlFaaOW/TsTKUvhN2yrVlyAcbFiJ+j77mXfK24oZEdNiKZGyDtCVWAni0ShFeUw3/oqmytNHPpH8fLYdY12ZcP4xQ7HjheLElB2hRwBh8gITa7300iVf6pfaRzexXSy1M0odwDcW82RcXftT+Bi6kBKh52bR7IuBV8Bo6r2wO46ACY5iX8/BxotqIQ6K0gzY3sWHzJid8zLYxbJkQfFGZf+GnpbeccqTlyS3MG2FK6DaYx9TrYulIW2+PfmwVG+d1bVXsVgI0Ct7slB7HmdqdAoHyVHSVD10B7eWtpWlwuOrGeA7VZ0PHPac/5RloqfEq67U27ig2fvZwUQo1X+NcAA46MNrMJFv1ptAEHnswyFnJCUOt6kpFxwN1EW3p5OflolFM+/TDZSi+Jq7Goa2cWoz12FNtc4GL+9Kbhd0qReaGUWGem4z6KrxXd/bied+fZk4V/al10GXJMSTXoXb9CLDwww0qwkAd8URpuIn/jTXFoaNFO6sANLNbTDQM77lCjY9tlQKO5pAmTZcTJRR/bOGZJUc9Ezq9IdWKruBFbtwWgMLvip8wvqTisV9t+z8G5Hw10eb1jskOo8RcDdOGlqYRiCTyy10MaSqGrDsFqJNlkb4ZNjxIWTslULFcTMojG5P0Nd3iuMdeGPMhUlEl5o45t53U4Mswc4W+0vVZH8AKAHnQHxzO1dxYnlsHIi+IMjdk7kW/J3p5NUrjoAoRH/Ev2uVfo3SjiEJgQonBW0mF04GqDZ3rDwPHvErlTc3l7flFXX3H1u7UE33Ri9FJoeubZyGfUmhaSFKtv0CJpogvD1FblRTmKCp0s6IaJh3e8kPCnYcc/3q1Y0O1939OPCvGO0jevPLRcq/E9kBCcB+8FnCv+GQ5CqXkrNEI2DGfEqgQ5ehxrnOos/uoI2IWq7yUWPHcgThVW7i3lEHp70ht+Z0hs2SoQiluk4usnRTmaWeceL90XyJ3mFVBYt6ESQv69007x3Fi91uLOCMJwUBQvg6q5VZDNy8ZhBGwQv6NimbkyksKu6V0ioIV83/BSWQOizTFe0XcDOTIF+arXIxtbdWoy+6x+cdWnU3x/eO6IXE43Dg6ALXzuj7UXhvOTyXMgNJ1pxV2DevPrHL8vYxWeRXimm03Q5k24LsBqI7j20LD5aTvSRz9OqG6nzymNP/NZhIFCAKjGvi/pK+6oEKGqSgr3xUQPVfiH53nYvt8BBLTgv+jo3fBzpDWX3CJtjLQvZ1eV2PdPkwHyb26A37qMqBdejeswZ8vawP14NvcGx/+DSCMsTIflukwlrv04irWJSkTlNDtHmWpzK6mqlZwgN50uD0hm29qBKu4zLhUKLVDNG5gsKJIXIFEalTdEMB42bNV+qZ8OqnKyAjmJJlvXNXXlsWuUmfi5wTdrIYRpxHkVpUADuv9lOScJYy2JDLZk1wAyVI8ObDBj+lZySdsG5yUmK/kCg4n2ONwMG/IJTI+PjUqr7NberjMLCELdDCeQe81JD/wmOwUVChHJ6mQuYjsG0DDbfM25COBrPfkuFuAmJUn2FY3J3jBT4uNHLoZaz6HOlk8u9zd8B1ha7Q3dETLWp5I05fB3d+B3m1Kx4f1CbIaNV8Z8Mi+kXP3wBapSpeR3cUdmOyiTTmF9u8sotIvLVF+448Z751ZOu0UbeKhOwNRaIB8i7jJ/QXfBSviS4up4DLUmVfbYWeDybTKyFIUSsEeYcEp1i540j2JxW2Cc+ptEBALJ0JRZ2T4HisL0Ov1x+rx8R8gbbvagqNz3kyH6jpSsTBf7QpZ7Tt4Y8Z1YKxrdGSKkDwD20FUHmcmmKqhwCzbsm4zkMaDf4uFqjmoYHBp0DEHMZHBd+FLgiqxi74GoqJVyaKjzqgyatinpBlGekByFMjSpm3LpZUk2SdCkK/7KOETlmxJwpPEimTOP/fI3WmKz1Z+sl9VkSHTV1kJOjZoborKIKRTaGSZs6b6TtXJSakXCNVHgkqc7QNAi+51i0u/o5I6j3sabEyabIHYXBHIvZT1sH+dX5rDOW2dFBePh9zL+izwff2NLVdf6WbOn8VgPeDnjqdK20/FsrWiUCYmd/qs0EOBmL/5EUaOgwHmEiAb5+p4W/ARrVNpS4VTgX+F92M7DKALKCYtgoPTsvTxXG0bZbgVOQeK74sSCV3Ftbq+n13zYV5/JmRFCYbJ8pQctIzpoZdktPE2ErIaE+Z1f9aa6ZJXcBEaWNPyB4qVVgufmFUyRAWeGJgUs5OyBRXxEGxKaa9xC8a6Puzop6srUo3bdcSQCltxpFnyKruMWILiun91zNcDNjczhd8XlDUZsfCUhkRwYTEXscdzwHs6WQw9LBL0dAXNPOAB1xLUjD1zvzlNw/QFFzS02MrWCWHgTLWzLB3SZ0rrDO5GEce4gmVzrGtQZYD24kR00okZTs5rJzLJnwd4uy4WueFegV6aHpAA9tDXhzwaxPlwh5CGCOIFngssOmwIexWW0dB8dSK1LRW/kvHpCJNgKSjvcerdUvCAoVmgoBBFNWqH5G1CmORVrd1GoXbZv2Q2vNiD+77OOWB2K4zB2itSQFDcxtDGfmZ3GJ2sJ+8hvMb0XhpHpaS2O62G/tdi/gz40WZaMxGgNCI0UcHTSpgKvDAe97n77OUkjGYKkazp5hhHzqc87nRvezRhM6wRgf3BfwFXVREVbinm6Eboq4Zm//OPpmqYYTgwrGyjyQ5ThAJw5xLCcsnPFR/Hl9fNgb6ra2inIOupw5rA6ZyyeReswAvboqPqXPgawoi6s+334Ba5UFxkLip8ApLyzh2xu3DVKmhimPbSPT5jdKESrZ2ylYeqy4DplzV5xOJNZAF5tzlWdE5OtmtWDWl/Wtx1yBqvZdQxPINnxV+hWKzvuO3bijzOg14N2ERMk1CaQuISV/lfoxVJOwHZQB+aHhik0r7z0mtaNkAjDc/MSs/H031SX8m197Es31rWfzjyT5T9v53+EpTYeHdTGwPayCQppR+jVjw6Ark/QwyC+GCALzmIw6/8T8Fs4BxSK8usF3hR01RoGJ6lWqj0qHgeLLDglhEUwtczz4g15QZkIE6D5OVJyyL8ixSM/a8AR71+K+OVdcTGLIy6CMCEwtwdGfSOspzdvkDYrsMubar/C/BQAJ7NlQlpzXg04x8I7gQ1KROouWWJFwlzKOEQ80omAKkGvriV+InKFtXCwFJRBr0iObhJ/bWqT+ASod94K1K7VJtj4KVqYVvvf+lR9zJC2/3/ZvZEIKPg1/WrH1E4U3XFimKEGi6K/XgaUKmT1Z5l1Zefklj1BHKhC7kSrgnL5H+S5nG2FFUEneNdvmsbNIkfnREuATTgXtDZsUk9JmNM7CP33kauhQTa8+KQiAyxb23zP1eOaEj5erBRZm7fHq9bFmazvdhMZlNA7c9OpiM/lCcOh6QfUU0FnR8/kfdB4lshtll2lfHV+m5r+zlJFQDgOizEq0+SYlbdbOjWrIVvlkPPql/icr+z45i2rtBp1Ws6TPstPPRsf6nQMDVhjMP6G+n92OopUY6g/yzpI7X3zxd9uW1Yw+QrmnN/FbMEo/Wrj0MXvTConryeSUf1BIvPtj4tSsLRmlw9dVB/FtAMFnNYBrBu3BrNiBHjV4NKTVh599FAOqDoE3IaejrTZvYTBH/gyOChUoa2rG5r6dkpDXG9FrDwDaWF7jQqsE5P5qed2UtZGBcZnrgbXHgO7ewJOEv9zbXNj08XVIwVNH8HEohEQAu+nTl7GTQkG+1V34aiS9opFkB/Zup3H6qp1uRw84f9Oh0BVlR945GzdpHRMxPrUkj7eFbL9ZgBf4V1zcO217STqWmuxPaymOWqz9Nrk4CfaQIt4TBV/+X/RCuCC2LI/ozL/yTTIlSVUdaE7CZiCN7gqJJcEaoVFu53gq0amseVyubqfVohHhg1BI6PQvi42e322gEMymruAjg29yfDAyh5ioVjOMYxsIfWCR6V7Omu+C6/GxwyGp1Ndwk0IcKikv9eZW9QTFIe8jTo8VPvWfj0zrPHkjAJkYPWHp5wZ45VUfoGJXwqga/adZI4Dzr7GMTsX0qomEn/YjyPQDmAl+rXqi5xpWesVpyMLyf2JUeypGTzi9Suik8WK1xm5PmqfnDA462iJ4NluFTidGiwNSHBeLwxS1LdfkpuAtyg3N5MPKlzJW0SYcAPV0aFGcjEc83gMEi7VwnN6xs/J8eaUzmSl8oO583SylYYh1QGmhR7WHcno5sSeMb5OISLz/r2oHhHdTAhCgPa6SUtoybPgNUFbtkMMN6YycI19zl27w88CVjMsBH0BqWhT+p1cNapnPDL3uXtLLzxBWE80+gVu3IaaXlbaR6HSDM9q5zOpkn27vtFIrjuJB+5Gr242+9MiW248SotbPnjhTjyKOj3B9CfXvCXl4rrKjJ0ncP1RctMhnTqNwe0UtdQfQ8CMUroiHloNLpP0R/DXmnTZRvyAOoCL/0x9t8wYUhJ/tnb8KXc//sSNthovzmYDqrjvtxnDj38QfuQITrteFhbNRaqO6x5L9HeSUfpzMSb5Cfy5U9utsGwXPUYkaREyxUHujYV7HdL9HbLe+Yoe9wLEgtoNDNdjNSo/Q2WzjkvibUqFpkNqaF107+t8GOlQTU1BWsqKVlN9z2l7IlPMkZlnmWK4J8Key5lCnW3TNsmuv14iB+Q/DBN6RHta7bmizzm84nIfcGm3h/wL0hImHCYVJP7EQg1DFcaVoZi6hP8cYQ9eA86pEJpWuPPfYc1wVT/REGBcJCakw0LaZ0kVFFFwaLl4RO/WjnlmXr5eseVbnzxu+mP1GJNDoR+rGuo3Bh0QuAtWuhTrjQt3bfiCa+lehPzde/8r06oZAHhKXuseaNP2m2nTtOZidqUtYZTfdY33cqt1KfC08GP7zXuFRHgylOFdSV5iZWJwRmKz1i1BnEg7q6qq3th7+kfJppcg48USJ5jx0rlWnIrEfW1S2GP5U4u8T0yDEvLpRgKwwjQLqF0Y6sMBcSzq6/23nRJYVIiz8kNkhpuhejSE8obUX+gbj8oQRLh95pTX6o7D/rBozvfsoqeKtLh/wsrOUs2NQMRug7qlH3o51B3CH6V2Rhq1/UENTDAZiQNvsTvDpJnyf6FralqpKAeRTzTyVuBABuY0M/JAfpiwql8jISG5BI+1DBnfhYgmXmrsbKgegU19Rd5tx0eaPrCwL7b4sdRFSoh4ZJQIIUDVdXcFbv3mkKBzgzAEh4q4ovEk0JVPM4fQZ5PXqIGtkfJFbOgn3TXGbK1Yj176TONqKtWUkIyPxYl2hr3009qyD6SlW2mGDDydqyrCGFEqiuzM8uaBIfOIPpMbLChrpyLd2T90Q3fkeL7+4Y0RRBayb9h3vy/YHV/DBVfZM8puWs8ijgW4dgf/1sBJQA+OCufrmGuhSx427APzdj7ggEddBcxTZVPc56as1UbQPKekhso8MXI68qoe9TWUGXTczfOYCYu2U6R1eK3aL0ZsmL0+FCkrRo4fPLnDgAEGDUI7EOMExSUSHO47cwKyJ1j6pXXfkzAomb6g2jd03a22I1WY8cWQ4L/KwfAwzXXybZq5tX+/fQpwGdAmJCRN9ydSf00EMOymlHxi0SoEtA8zsjzPhxJ6J8mvEonxn4Dqwy3tCaE1cWC35Yze499WKQPvcM54c5ucurS8GmkMxz+y9dJkrsN40KT4H5qWh+j5Dgu+K252eTC97I548RsuHMQXo5EYImTGDnhVgz9IYZYF3vq5g0G8G7j3K3hFdsA+oE+FQeC10/0eSenctpxAGXcypey3MaSvQwpu4OEpgZdST6O977Bc9jaI+TwGM9wHpFYnMUOOT0MyGTCrdgSXJjTUj3EvsOpq7B7ZJRs01KuBibrK9ZTFnX7vHXl99j1M4rjCxOojxnX9x66mnsQ+PmkAn9j/lAENgPePSB2r+K6GF8f+/gMrd3yEmeTQ/aLiR3mfCpoqs278amfZ6qMFL7CB+QhhBw8MdME4IEZk+59QgXX/0AQ6XL08h+g3Y1E08PTMGKMqZBrQY4J7pcU8hornFUFEMNOtKdOdOrK0VKYRz9O4BNXRjC0TsJDAG2eS8ldSj8ZfVuG3holNVUHw6meKh5VHIgNaRbX/HQR8ZXWg3KiagEGQ1tpJijuknXHdoOGlHo7bBvCZCN9haESlFmPF6B/6I0Px2F7lGwWfSHAdLToNpokRaBqSSfyq8+c+ZIn6ilPDZEtSiuBczuRGsf0Vsgy5E18H/nWKtdvI3E7m9suwwDLpeIsKCkHefFvzqzl8OPwLa34Vbh7UzGNbye6IF8zxcMrA0XzyIYmcBsygxoh1njlMygfpQCIIK8e/v11tfE6HAzbgEzxc1abT10lxuJIFglm1qDevGm1lm8p/4famq6W7jJVHRKRJd2QlKq9ReHJKlFP2gISO51D9ALh23gTXSaAsdUpGRIXbo/tSy/wLCUGKWEjT7U34yuSZAljZbypEIiyjc0Nr9L7I/6jJpxX+sKJWYRtyAQzAS1KdhQUagW2HM4dH7xfdeOxiPfxdPAoFzOHlVvZqYmQNxcLKPS6nvwQwj3EcAP97CUqPgR6LnGvt5pVkFclNkwcg6MAvxfizET/GRFt8tYOQIcpNddDx38m/gsFmN68VOOCFO9dJ0wZr0DtoXq4kRST8u+AdQrF7iT8bDXptXCXQFooqnkWMETMMJeIfooWSJTVvUFkopmAoqFSrRZXbVzRtAmMTOuQ6zXwutD3I+PUnRa1sEcDk/x9pWrcya2mDyqQveMbvacmVi/87Q+7739FcZA/SlzfLznzMH2le99vOLbtKtPgwHCgig7zjHuuNCwtdVebTu6qic/I2lKYcFaV/9JZSUaYXgw/LzM8Drp8++SHEcyrR2PHvIwywpDFyRDDkkKMlDVPFPC0tjvWhQEIFrL4PeLuBe9/n3GjLlOdj4gxUXB/mYK1hi5ei/zXTclP/dPWVfOcySVZjGXD6AW1V2RZIzkS/L2oeuoBSFGnjPHKhvBGYhCZGJ79Ve7b6TTwG0R/OyBbAw4kEYOA3bUHjjL4amvgllJOeTWB9aqb5M1cJb5H2sBkay//WstdoPRHoqrsqoC2u3HmW8xJ3MbJwIdzxgJvQ6h17mHaPDvuKj1UKJ8Cd+UusmFnZYU3tStudOb84wfL9LCc14wd7a2gGZokVhpXPTlcntdqxLP0p9fMNAe38KywTNRW6o4yxcsmRFX3dMC6xQY88BXHPnrOM+/kdHQr87hM1pxLXfN3ii5/JTBm0CaCiGOzgOLnJuBZGS9FXETqPqoTlt32G3p7QoFnCuazr1ojTVbjeS0ZvK8+DizRxjw0ZbKjo4F+rz2gUnpv0itthTmDWEI4YIHWSrVeiwvDyGN5NoHqV/ev25GOoWLu1kd2VkYZCZNeY2nLJzwK3kM0qo4iVGOvv/dK7Yx3YP0/OSvCvNX1ZicOP2/wpNSoaIa3ImOXcRoErsKcu4qDEXmbKPlAVJAzszgzXw4HXJXvEAM1LHWvPHRlpAtNrrA54ccd5BmefyKwvReWJcfhNxy6oYgFfipjjZuOCP0cb+HuM2UwPKqfh/Zp7IsY68aCg2jJkfuR6GWwb2n+/6E/PU7OJOdkXd4hioWJyHhA0ju9D5trSN6MEsEFo4MqkXsvjmW5VIOWreVbGj/riP+0oi1kAovDpo2udHcsAKNizLne45NVHbWvPdjgc81zkNhNjNtXpzdfZJ0UpYrqnZM9Akw5Pc/a5jg/nP0ZkIaHEb1nxy3kTQMNrvqII8WCDcpeAenWpZuLZtZcAdc2jdG90U5/rge92vSuRnPj+FK5QX0cTj6ONIMxxnsUXhs8joTgOQnmptmHrofDFDa44ZJ+KwvXWhQ8I119F7LCs8nd+YY6o4EwYnG2Ezk4tuO3QckAlp6HseRR0qcFmC8JaCkmS8A0ROsLdhXJ8Q0uiso3tDyO3Opm3lY0Y28BRFhTGsyC98GvpVIHzc8B2bWGMWQEM3nCPgPJtVY+sItVKUrbNHBjSsqL0Ye09Wjsc1Ff1fPejD3GvTLoiUYHrUNrF5X3YVWvC5PM4grXbBWGl8e7jGXKdQdN7kFOLdW4HV9kRTP5r7C6d2EyqBtxGoW/SeSuJcoBU4/KgeojG+TMBIoPio5ai5AXJ/Fp034m/OfZ88XId26FtLt/1U5v6H6+GF3/f91XuHlApibYOMnWQVpRq9nEQ3SF4c7rtfu5NGwPb91gC2AV/HwYZISbp012884vSlorydJTdpNTOQ79xAKX1nQ2p05PzutTdHF6RmEUgMVjuk6tBs/1xuLjRGLhEyD/OcglTFcKqk3n05TFIF4yEleq51xFSlVFpmu4cNIhos+QOnU2I2Ff1c3XMNUlFoTwpRcFr4IMwNcEFBk8hPybaJcKmGTwV8ajPNqWvrHvvkIH8zkNx3YbXhvMICvHReEzHlSe10Q08Tun9+VfXnaQm9dCOkpmOLBkDwF72DxzEgdR9lXcB1yYWATGhMRJ42cMseUvPqRFM4rSsKMHORIJXgVQpZzzLF4J8eAhoH9VRy2kri4IGBU5YP5YYiQx64tSGk2P6KLmNo/vYlb+edMjFUFIxlErgzmKWCpksbt/YixLPL0ZMaC5cRzkZempGBEUEGNT7LDeXMLE2DtFsZ2crqiRRvvI2BH+hYecXhCM4vhfEitbas1b9Mx2Of0ige5InvN8JRfA/uKo8yixSlHspalntHf706LiR6oLJRMfHxFRMUIdZw8Quz3WinmqLdwg15GWIUDTHs4QukzEf017zJOH9CggA8JmnUpvVaiL1XgBewGQSD5/+dauFfhnWC/D2yd6hNS58Oc0pcawm1Qq1dES9uGOQaKsrh/l1kQY4OCkojBY2pdliyjZGX61EX4iXF6vO5RW7zt8It/YUULFxCkx4HhwS7PzsznZWYjlt4E3uj13lSmTrcdUjXyXH7h4H29UDB30EgGOJRsmPDr3fBOYhsajvVNhYsr6g899Pu5h+Qe05qru5czp3r1BX3GAuRIHftP13qrhtdPHU81H4nBv4SGlDD2UITTbHgBXHuOCYy3+f6ijMPd+ck0BmGZbA+70saUJoUIfvrbvuOu22UbkYDzwPQS3XvINQpKRFuEqY2huddmAUmatTzNAeX1rByXw8swccKSdXy6vgT1J7K3seVMdxjzmrRjh3V5/QinM6NkDqo5NK4jCBuqdF3uxYPngQadoqFmAL7S1FYO6Ffl1J72ObC+d4Kv6mDunm2/+YFULmUEhvVF2eABICfTjuIxBzDPAUFE3JDynyzYS/nvVjrVHpyHFuaYeMSLAGcq/znu0yb/+P8eYUf0aMLeB2KN2Z8sHzyp8u8/rF5xA8Jds4Zghj6iBTZprA9xJCutN6kyC2OkSQq3n6k1VSTGL2EJqhKXE3NzfolKveKSRtba25IP0AgUfCpcBJA7bqIyooCz5MV6tpMGiwE9NwTVm0PnMY5QBxxaiFm2a+kPculoSS+8eFaCqkTClUV1DJzDngesM5S6WxnlYafznqrYkPXxHpClFeu3RY4kltjMinYd++LSS4MH7MVF65mvbxVBUhyPkSJNv0WIA9w7G84N1l7OHgg//Qi9Oy9VthbOU4cYNhKjlyVH8o90Kc79DZXS14g1ru7OmOx/aQBt1XyWTZi0+IT4vWckdpbmG9Jv85o19BuGgBYyrurXpVIhqetZoAHGc7BV6XTO1CjjagSlh95ylheweCYqcsM7WyUXEEEMN1CBHCYnroi63WuFeAwOrv68wpla1MpAj4bLE5D7kDe2NzoHr/LuV29K2GS22oC0bOMJIKUOXNjVLW7JrkHdgATaqS2G5Ky5pnoUV3FtTi4Vo6LPhcBrOdta4C+B6N4lZM54UbDni/bxr6gpuHy73dLQt1NIr6lMjDkn3IFhGToejVX2lyn+VL8vUaXLnmlRsiBlGcW3D9yXrx8hQX6FEMJ2HxLEInCkoeaout+oKSe25yHwSxZeBtNQIgrQM0jsegew4ieLI5LxTrWwxJqv7l38KyK3628ikBthYy8C0oDNKo8jGpSSAhRNzmL+opyAFhPq3+R8kxQc1Bsnx3VOD2vLxD2NSJZNJj3dh3Ti6ja7GodWAOFJA7/sAGLg2v8f3KbOY9qbql1n2xrjgtFHeliiy5gb1beodGCea6XTzo/ZQ30UeQU14XhKALyJ10JjPas6Dw7Cbr6pGtw4MRZe//REXDxWBFbHPcVjj+vIDK3Gv/CYLPzVTg2gkl+yCpK9Ovv22J+PpDr499jDiTnucUJyalCtdKVuN97U3+fXyBWSom4Glqs57egC8A0Ooe5OPqiKK7SKSRJZCc/mCpHusYMQ07ki3mBnwTPbfVxlhHA/AvzW2+7lUS51aOuldahlLyH49xr3chd5QkoFn9B02j5vNGRmJyeovzD/7qoevys1+9TdRElgtxmTKYDWS5BWlHCq1Dag5c5e5KQF9Ef/vPZMb5pUzz8EdOXHsDXBbjLirp6IF1XWZCXj2G4BJgGcFohGiTarEAUUZ3dtNWSgzUhYoFu1G4z6WT3ghcnPBs1sxAJOdFinycGzTHSOM1Ieu8OkP1ZbWYTWg7TtezEzpdosP2s5eO8yH2CMyyI2MDVwHXTOrU3u4Z0xKYftuX1Iq2cRVbv6ZrDblmSNh4dd0pV6Ds0SX7bEqsKOc5LzXxM7ejCz6G9enTGyyyWjQ1AZ3+3nOClgc1UUuIbzsM7uqpB0dBcVxIoP5VZ01Gi/x6xFi2FNVs0hlKlFlVSYGaTSCSRnfLKvp+W5WQk2/AA9LwXi66yMV2qy9Zz+88PKaf16Cj/DzNd64ibxDJIr37j6/OmYhpH+OgQuXKeuaT7CwQkUdOaHl96kOk03YyxLikE+7QUq2NQRWSlTZB/J9eWeD97uoyfbS4pEZFxy2z9zO45m27EeGtud6UfIMQ7Lmm59EsZJhgfcklJcgsQ5wxuQR5rfHAqSb+abKed9OtTPXF4iJpXx5vpD6XRLPkZdf8pY8/8Jss/ChWcoz4q8OAFA1GPS/A4FG8k6+GBrL31vmZvasdnJZHYNpUNCL7OvFWDHzKnOk2ZRjI8hwCNTdw4ozwPYmH6PdgFMSOOE0y1ZlXuPUx2mvnBY8j5t9Lf9VQ+LVmPAGdsJ5kHhpbKOe8ijva2s5W+p+pN0EQ4ymsDOoQMxuo7pJT49cl8tiHbZUh2/fZ3Nsm3LD0IBAznR98AgaokEGAytjuHzkKNbgBCxk3zoq8YK2w/hPx25WsdlH/0rul9VHrmhzDOXWl48ee2jR4ufK/hFzqkXbQsN+fJrWeX1FwzmfAhA32qaXA6Cu7jh7p13i39UAGp6gOTb2FsmzaGzuDXvSIm2IDS9vlLwUkgDqfit6xm0Vl6pw2qU0uR0vx27wzDNL5TMjt0YgsRZKc4s1vbwCIzGf2IWoukhN8TY8v7/q4pTWB91XvIjt1zTRlfVwZX1cXZ7Et8H2WyO8gjvvjVOB/COnXJOL/5y/JEyonImgJv/FIcOorNxH3y/P5zZcJ3aOQXbDbYJc+rcZLCI8whJSWnmylCK2NyNd1OCBcAr+yvZSD6XqxVx4R+LNIAa59C5PzQXT4QlpI7HHTSRmJhQTG3zfbpeoCSqm+H5XOpaTVals1IA3mvSIi6YClkUlnFmgXrlZmo4Pmkp/Lxip39C6xzZSYzdSg7QdDWRHJBy15xkMVq7zvlo+LadHV6wJav0+ckINJ2vrYRa2K0FK/PGRD72hmECv4vs5woXUNlKpNB8Fy2ms7wamPOU6ik+Tm9u1gmTOcYuTdjbAr/bC1zkNyVFE50skCtVxE1tm6Yv4nLbtFlsv1p82fTPTQQXwqQ6OCHZp/4hHqPw9TmVKmWpUTWdnGobINeXal6RptpNJh/iPpdnWevPJlCOZFVCZAnm7a9TeQ+aRWwR0jcS6hoRtuwo5K3B0xOzys9SUIe+I2IquI5TsUTM5DfDaPeysnk87JpKqL44hP4bl1yeE1d93myw23da6Sw6vpI381u5n8M4jWbQVvla5KWswfYegDMGBhSsd2A2PX6bi2nBxIjQhjjF6jilf7bYSfxfOlUsOnAkMNN3wshiAXVXGVaeEXJn68l619mDg7lcmHC2nj0wBynGsQgZM1hQLiedSMVfCE/Fe5GgPTl6CH5RiC+eR78cTsP+KIkQAXlbVjiavSVlQv6eU6Lg4I4r400LSAQxltZPiJoGazVuYyra/2oe2Li2qPcgddGiPimEbPexpfDlGXRohuK8sAHZUrcOHvGzrq5dmdaQRLjBUzOHiRYO0hOoc6Uywu2U3pixRIdShDm42VLiLaMTnofK6AX2idC//jPkTUZnILw9sOKDDxinQgQE5CQOoiG29JFIG+W8vE1uQ90YoguS0QeaUrGvtP4Q44sp+WOhdlEUE0Df3lCpmvNYKY9iFokaTQWWHXe4ZYPufl1hk5krQj3UTrf8NF7U0xdDggUfDO/VhAbaClGoge78rpTfjv1AydxtHVxIDg0rBaiX+74CGol5vZX6MUmw3Ix/x5ioZiJ3sW+UAPtZ9rwyz54q1v7KqUABXlWwGffCh/7gsDynuRjwurTTZwLRmubkUy82zimTsSG+Tzye+i8ybWWqEw/bu2CcRW2u2kFfBQOr8aM1B0EoXGePWpfSlIW8tVvEXJ4JClePEcD0yObXxPBmB05lGc+FwQpFEC5z3LDzesVlmulUkAr2d29HloZcR9DK0DiTVaR2nZBdyk1cK1Gh2Wj1o15pq6OLsJCutJs/Ym+E95+Sq/H4ZSJEuTGNNo2kWKqnKCuDFdPbOkm32xVl82E5ZBu/jwPvfA9JbvQMecQukB3ZlHauy2zXFyoXoTTuukwwn0P+vhebbTbYBpevFLDyUWzF9ZWrbDQAcZB8YCLSCsA0PKYguTou0YBH+UiyJCFFNVHDzxSi/WMll3tdY/TjnNXkbpzLz0V+xhWD0IMzyPBsqY73TRRIXLkagNq+SK2Uvk0XSeXfvXa48MxqoXX4JnGHytc3ij0LiSUDkYjvv8uKc3ngrxUVvikpgaMpFf92Mh0+VH2E99ZZXC0pO/UY3AoYpPT46E6gqpqazLxSXrlknr0Pf1wUn62l0x/bNDTQdfekNFbOBFkA5hCfcl5utCV+BSUEHPR2zGCSDq17JADWri6cs+b8dUbZZ6u1kPjr3kqwmlQi5Aa6Y5LS381IdJM3LQH15NZjTNOAntu51xLX/dlfzc1bjIthaoAZZ0b5OKc9hO0bdjudiEtGHaKu/NZyoay4abPKPXDf+qI5tnj0xivsspHlRg6yTFS5Q9O4gb+fnNCpULDTZaoc+yU3GSE18z+N50pQFJlKea/a0NxH49Y3tAWmv6pYNdrpUXR+5C8ockPFdBnisLpgK1y2vakC/N7J/+DnoLSmiVPx/pSrcIYjuCtAM0jmQQEk7vQXinP51jLksnR5igNoo7oCehA5NwQvcC51VTykKvCD4EIwBenJzsIVGwy6skYriW1M0dLfT1xCGxN5jzqDxNHJjbS5raXDKtF6WIxBf71rS6TKl9+e0zNR6dQh/iqudDDhYwfy06JpMXGRm9om6o4dQgwQ6iDBQ/WH8OZ5OkAIO0Aqs3nULWwk0156Lj3/xAZWMyar4sUIgBj8d3Gv6+1OavYJLUc/U//IEDLrAcTuYPBlHED98dHjoVBlGo6bdALyDOd0BiFAa6QRYgNOdTevxaXSvrIyJfOe5qZ+7uP96IOOHuYyZB6OBpu/hxF8M5J8RGkPon0xS4Ag+ATCIa3jYR+oDrg5eM1qmx8RQBjZmBPYZX2c1eRHHhP0UXG7UH0x6vZjSx0RKiUJ5NNK28ZafPJSo0Yy7Eg3C/b2cPZIdK56StaZv0LDiG+lcJWBjoLCGaNwDkvGbJXruxJgfCZzaEu7+C/Y9jfRCFESGyFg00KkXWUFAvqLWBRZQovmg68ivTvCpJSvxyfUDZBMlrnHrgoKlk0qxoyZcCRmGsbbZrnfkgMPKBXFW6OH4iDndYVJlJS8rlpSY1ZgMzpc1iKnu4/qCKGw68cQcqcFDJR+XuJmPNah4UZhabkPHYYSkToImzcVDS8be3P4k2MJXZ5/kuQbM4G0b7vib1P1pX4YG11FE+FVMse973zCMozstV8EDAH+AM4dvywiN574vn2/bBw8KPdEPZiwXiZZ6iduoKMUQDpW5tYbQOz9/izUfRxjOUf1/PQ4WzIIxRfA2Z5ETsJQQfaEp/t+Z2jvAQ5nxyLtvtu6PkOECHYq+H6g4+zTi5HVlJOuTUIg9n21gR3c6hxeBrNrrB570PkXILP2TqygkekVd/Naof3jWSBjji59s5AUHEB4ZlgCMsew9BtKKmn6J1n07b1UbJ2wEfAKHntik1wdP0/PUmlpfINLjnepGRdJ7ev6LsnSkrCpjp9GnZJsTCDKcZL0SWj4CZSGqytrhQMGXSxHa/6oKTlLOxa9FYt/TVjHEZ6kN503H0Ch0Pk3e22oER856QPsHOTsOKbNSrQSGfU6RcUhcglGPg7m3EvFl84a/rEgjCSboInQ3qA/7Ipqec1zJXH1QzJjdbpoAJMmp35hmTKamKRpjPNao4zbFgYBP9ZoGjoGhR05Xd+7ATnjN7G4vtQUDle/Cy+wtF7pXkXYc8CmvICm4w43YqF8uaTrKT3HtJxNOS6qQEB69tsAp73FeLyLCQ9CKka6C2m7AieMT1zDc0C639wqJ0B/Y7dwo8MocMGjLAqsbr8clLwpyizne6zcCOY4iqeSInv1Mx4e1s38l1yEF3aKLq7Sgq9Hla3OKoI77x6BH0I+69PYo2GiTdKVkjQuQ2gfQHZh5rW807TUAo8vV0SWzswV3GLaEO1E19g6qwgwcwbbciOaXrX6+Yv9dpDWY8yebUFKsbzOLmPRwYxjLb4lECSrBfzZCd2e2kvbeYIFIthaOr/CjV52MSZT+elyfSjKlfgUaYn0Id6YNVld4mdt3FhociC0PTzEriM+XD8h6fuxoCiqSbQBi9rCK5YUmhtSr/G1xGePmdsQr+gHxvhNPo84lHhwkiwAehThHlZUtRGa/P6cLgJfxF9UYuuf1d/pqV9lV1+HtHO0G8R2WERjuI/XWVA4c0tAF3R1QTlKFOXpZdpCeSbRHWzpQpW0Em7QjCiKXmgxH624sLVPSYxLMEltH9OAFyUwZrnRlrgMlAISPoExyt5o22Po/bIRe9nPs4D9B9PtGE0QI0Gx2Z413kJY0gZ6MLyzsrjbK7paMEBHlrZNUmp5ed3FRMYkkltxrhL8UaapIB4AEntHjU/l51yC9lV547TACe04TqDkg9mw82j+UE8jiX63K7BnTQTXWjAgEoq4ZYuE86MzHAR2xmCiJVp9YHJoaDuaWER8Abu7ncNQ5H0H5YO5HK/40gEVDiMzSFcWEQNuIPiZyTzsiUngg7Pv6j/ZQDyajE7sj7kRnN6yPyrVQEZKHx+KHk/Ci705jkiCLo0jpb+KHIzdu8bkTiMBZDMWPvZMEA/zOCFMjOVG2lyuyJZm6gQQgKILmeph3ccZKdk2zWXlt3ZAvnAt7nQm5jLV4P+jX5ek/Ftgwi0CNaEfRrkBwZuuVhXyOCiKXJmw5o179wm+SwZueP5p6w9Xx0naBJRNefyle4JAXbXkaDv8Z71QfWxWmX3KZdY9ZMLYgAwHF+EQSPCqgqOWDjNRfSGGXyt9DdIyDls+S0AVLcW+zCK8NKi+PyBpvAUjWH4DY8Bo+vrsfmrqBBFEzbfi7KgPI1zr3G0ZLBo8ThW+vwRem5rCbNajk91YtlycTURsAzDYrZ2BEsAhpaolkcuJblTBjA69VfpagoWHEnt7ZZTKhzoZnSdE+6v57pC2X0Qzo3gMICM79Cmzp3xW1lYlw+i+tBrDbmVAR/8YvfX1fTeMjrxNZpCcgg7OkF5LAX8pscYwnUTXaCtHLuzLrqXs6cxtUbzNtFer58STjVJ6eDI4ecbkx+7t+EloesiF0HG3cxij1T2UIbmFAzn+ltU3Q0WjjNbNFBmLIrTtbrQ+WtVYnsPzb4Dsq9F/2OO0dq9JW3nRdyZjFtnDd0Arr9VzxmjgutWcWW+AalHsejEh6geHBfkEDWCt7FJd+qb2rHfiByCoAflxPbPBy8Qnqr3XJFc1A6hJSB4rh7hO/pkfOttuL7XCP6TILyRb9NYhH7jLTOM5qhSd10Df4cFbyN52OzZkY02oyhIeMTt6k+hU9AAmiV5c6bIoitA16jy0tEd04SE3iKHas+mJM4DjLQJySSyR4dyTWAqI3YeejAvcCu7S60vqzrsc77nmFuBw6nJcv31J5ReJSS0kjj1pWA6q64wgaqMVM9rnqhspWEPlCQOC+6QeendfCoyEbPisCmOCrxwl/o4mQ3HT8nv7iksY9ABOdTrHdkktknCOTjeXoJegPBUUFKnykoLME7omJhoHRD359puDM73uTL4ZATm176CPqK8/awI7oXLvaOiA247K11Ots2T3huJGCjLuheNU+SVRvIBK60FeOaWlslRyxYKyDHW7IHrYi+VSr+3Cm6JnED2Q3f1TWr5CuI0FuLxYKDDzBJ+u/BWfb5x/bGUtuMiggC2Oxe5Hh5m7AEzrp+v+VAqM2dnbpqQcjqy/eSG3uMKoVlVZFZZ9bvwZKrx4EMTuY3kNwwX7zVS082hmvxo7vOpJMVVxfnWPcEhaR9SnHdqsDsuBIZ0aXkef+GRcddxaIBMexNwTc5VpWBuzQjentYciGZ2d04e4CqS0U49ol9zwtdgQoIAjB9x28dGc71UpdRZmGhVZTsww68ziUqybJf+OiFA3OyfsADTJAQDE4nrdC9Ehu/YKgPJFoGmFO73/zvzLFZJW0pxOrqTYCAxbrs4vQjgKbmK5kqLdUBUzO6k/UwvXdnDuq8zIBAcEyEd94EqMWY8aYyPf8ICY6O9EHyW6qofITCvr5OsyTrhqVmNu7+QeYto3u76IPb0ZiLKeaBAEEbRyNFoRjOwwUMXUcfzbTvkFfKEKTbdXROFmyAhzxOu3KpJomLnJOZH33j/t9tEsjVqyEFlDs0eYV9Fr2zLUhUUTVmJPRlxdufDMRevL+ASDRLGK3KlSJntVxs7LjgQE9p7ZjP/sg9bqa3xYS8TCvXxsjjGIBFSt7UEbWsxOVfpQFsmgh26NTc9F6bGoH55j7VOFvTup3K4duaaDEVcnrksf/xV2mpbckaqqZSrebrTF6jIMvJoXsWqJ2EYEcgXff9ttv/djH3qlmgsquK5J1dPHO8ebWNcLKP6cK7qlgyRGtNqOz4679p8L3YfvSnccpM6fWRWysabyuF7yaF50eMo+zWT8rewvt+nXCVsWRF2PhXUYmt804phFaPy2ReBiNz0pFV+Ub+IULn/uDJrbQo27gZrW4QVBnbAMjPsy5LlPgZNkGK0pBvnjd0iG+ufRp3FA07x11q2sjb1MXnSVhdBA0bxF75NRtj2Aocg7/7J6wS1jxYG8fQ1gdGeNahxMXLlrWNLY0ZBIadDUYcegc22kbVDRc8ipNhCYiaDYAnNV+JGMxKF4fv8gQN3KU45ivk0uvY3XWvM3Ccu7L9lfE2XJr/t60BWP/52WryulkrMKMFVGJu9RDrC0+YsHDnKb/ckymsT5D3v2oUYJDnYQn30Y4g6KrLNH3ottCZ6+msjrGKGu31lV6ZkSFf8QT9YGqViuDqVsxlnqd34JP4d+mVAw2KRynH2UiEKuNXhoci50TY+OgPjXP/OgjwL9o8dTcSxaC2BocMrnp/PH4l/3dq+tYLNnuLpwaijtXCflsq6avaMgbRs4ilN9qp+2WjfNJM2OSwgDITuiqA/mdRCgUfxSpeYXBBlAzQGiTt/18Vrp2uDFH7F6IAjPMHfb+IEb/2UF2kh1tLyfQdozukhCazN+5aMuNHytmqrS/dna1rtf5YtTda5xyE2HrcP+J6IV2VJ66ZNbcg3ygsVmDpvoB9h0ZymcDnhamRcCgSbCFcpZ9VlLhSrV929N/QVfDy84GSofiCSMaJyqYXO2tq7ONmxNPrlvIBHJJA6Y4cRHXXJfThgLaDyJP/JZI0xRWx596sKdpjqS7qAdsP0XgoZc3KDs9LUAFxdY137AIV63Kb9CnlO2wYVkDw15zWSpp3FyTwtvG991C7W/oKmL+MnUYgq+mBK42F0yHUZ7R3nTw89+nYo+cYklJRcJJiOKFtzqsa7sSWxscFJNQRCJR9nRMm9Fanwzx3gPI6kGPoSrbl19OunDR1WqfDWf5MAP1pC992LacJVQLKJu1vMFhHVuE6GV9K6saxAgC1CbglGjSEgUQJd8j1vnSJk0OviIifV67frvsJTIM5LNj6kM35Bu4sCks9CpPT7aNeHCxCPcLDdhTjEUEiz/m9xqz5B5gxuQqSWt6ZkPSOvIrOVS7PKeUZeN+aLfX2/FJegjgGnAZbjtelbLO/pSn2XWavlGRQA81vzOirEa61oBU56hLs55VpgVcB7T0rCJq9Qs0VLA0rHhixzvKiqxt86eX8lUNVtkUIQ+0IhLzs/WRjmCJSiwGNqMVN3MiU5WaROY1wyGw7HmdzROfdMZlYZDzyCgzyVBUxPEIBloCXboJSJMJdWvpos9kL43+g9x4FqdSEna2dATwoSkIuZL3Jy0boAzy+6zsxspGNOtjJz/GyIVVCN8BWW1/su4Wi5ukbyhkshfzHus5zhAm5JViF8oJ04SyrvQxx/j2Yxk268WnDykK1M4+SIrxCxnStOHL68/u4UoQbOtBVeNB3utDPCf0H8ykatS8o0i10g3AZDCSbl1o02yT4S2zAJhRKChauDgBVoFXQrcBCQhXn1+c8z+EZQKPkG08vPuPVKzBwkPN3cQ6Al58daaLRfo0PB7M0SuyeJEuCXkMyo41vpDOE85ytrT4bh/nICJVMDFz4epe9wdFA5qIE6jZzCTVN/XHFVdH04apd5LVrD28X4cQZtGKM+60zJVuB6LkcyuM9nS626xiRAP1hc2BjKcsgXTqb3ahiz7099jAtRnF50OkqX8zXynO0oRUMWjTBBcg+1xNQpgyBQVaA7EkMUbhA7JkToBme0n8l9pCqkmVmmjEp2hQXvR0h2EdFJhlJnU7SsJg1/fJ4gDtlkhq17rIm2jOmB3o8qeUBkH+LkqAQbjgU9X2TOu6Ef+Pqvc0Ch4goxzvObUTGOPlRpzm/t0ifQGGUjvFvHBxVt65PZrMzaQIQ6YzCEJDcuKqTmjbC6ri/+NQNJMoasFIqUZGTgXU+kG3/9r4ARKUfUMlvDXxwEU94DX8HYJTNkHNgJuVJkwI4fGdn+tfCIAD5GMG21jnzSNKC4nzP2ndXAhhn8WQYXW7FUjk6DOzw65kD3E4O4GRpaCqj0a45LI3oWUeS0DBD2ZygmTFfxJCy7gs9TV1qG7MsvSRrEBIFUsaokBaFs9zUeFutf7mvoRH36KUTFrtXQ3Qg9qeoAUDtvmjnvY5cs6lzNgYJUv0w5hwXooZqPU1X8Ti9BEyVUHVmCXYQrkgMnYF2qvDThPa6PXpbkb8z8XT0NYFL38l5xh2/ICcdAApUsG8m/+s4m1IpZmRuQp0vBF2qAG6JGV+r7w04FQRdXqWPS5xQDfULDKfFNymDEYoLHKgWtohiFGJHnkZACstzMeTRPVEOvnRyJ6e/MCjcP1P3WgCpTMb9BBdmfVOBc2Nsd56/4emBvUxhvYkgZtpu/b6+IdL91n0LuaX4FRyOoQqQnQLjJhfX+vhs9L+dm1MEPq9yrP3UcsKo2xQUOVqGlJyMr/eV0pOr9FnqT8nV43xwjCeIIFY7BcosKpxTT7M3p94lswAhLy/dzCQoL2jbHI8232RixQFPNiDaLQgGCHcY0aiM/Dw+PqDPwzc1ov0Z5BidaY2Z4lGtLCAI3RRPQGt6kktScHaZGzmBX2TngjDfQDDD/Jzst2PpigDPN7qUXsGCYDu6ggczW2dU4C7jkNbjKu2ytcGH/Ou0Fws6NQznu7XSdt8xL0yXlvmf+AxafIjNg3LWs6vl/94e8N11MEz5HrfE9uXsfsCoyHk6sCDu2aXkrxAcxF0p4z7nmBuB4MDyh5ZUdKfDAocC0b9IjGDo5jgW87ovAH37HE2NCZmA+UtXCWK8QqqN41mwpRslDLZHMac2OSNOlOK30Ik3cG/O+mne8RUkl+ejbbgEAzFNh15DYjHWdFtPcWm2sAD+QEbiEm9ed09VQtzQo4iVmzDYNGzTLavriVnCR71PbcqBbjdnZ2iwWDthrJKg5vxbT6EP0VxsenO4Z+QHqupdNlkBQCpHH6ldmo1Wouin6uERvezbPeddYgwSP3aGED2p2vui3IHc4vKmiN/XHE2Bm4sgb+K9yIbfAGEKVig06f8RKthH9JBS+1KkfLLI2ZcHUGDD0SxI/Zn4KpV9SiwVW44saXrN7aPrz9aswfuu2Es5z1Ghh0HhzV5IRUcdlQLwGQklJn7hw3oZqdqUed8E6t920KqulJly/XErzHiyNveQAr/H3675zXytj1mc8UjqSRrYnRdMvM84glWcox1Pk3r8o+RqM4t6+T1mat71EjDSO90h4kwTCbOPuB9yh+6EdQpk2yhlOBfuXzWGEuTbqLRt1i1cYtW3hScsgh4qRWlAOaCHH3WJtTzEOWWzfuHvd1N5qepqIJvMYrKMGE9PVeBoiDb/Dts8PphHCAQMGePyXQV1LmvqwtARvtJgR06tj32NABjgJPFpzymVMVe7UIR8LeHIBBxEIrCYqn+GW7c6LOTjAD7nyGd68X7Xfrewr6Ivi5FkBY1pgfoleeWIF9DvBQtDJltrsUknagqt5VPKl/5tlVDXdYTQe+4nWzaqevReKcKdnOHcuI3nLqk5VW1sqF7wZohRtpi2ywFQPrPwY9N47vE7fRGaPaoe9CVEsPjT9mdgXpicI5E+d0zacxEEdKlKLwRle4sQ3pHJhHIS0pzLkVyrSMPt+cZtlsyl/1llccZ9L7UshwJxGYdCd7llPtJ/iAg3BhkTtLV9eJsbXpYiB4BGG9K6bRmUycUI3lyWeGHcBaYEaz4tIDkO4I6YaHi0i9s2SZ2fyeEY34x6txTbYomMIvynASKwC54FVy6j5ax0qpBDjoVG78ilfbV5LjCIJtfpDI04nRt+J0CvFol0mIHLoaxtZIDdSRO09+WL1+N0qWZ8Sfqp2/iEb3ENYKJdphyLJTm8N9JgioWTJcxL0IgEafnFTdE/y0WciqZxSTfonRlUSRp5RyV8pe3134LsZ/lvwjSL/R69yz7Y5y2Sv+hCCk1qTFmxzNz+akWOG1C/4qYbfUaLm1KDN49/kbo2RmxZeQb/Y3W7nEs0y7Xr9P2pxUgGeyaA5xc31JAVPyJSmNmF5ize/Rff9+WW7Qm/0OGRkCbN1xgfUqz4Ppex8AQyZGBkHI7Ata7M+6qWNyBWXrZ5bFc2Fc0nhKsH6yGIr38SyGbx2qkaxc9hziP4wbAp1Eokyt9exJPp53ezByYM1w70sxHHQXXWsu78tWaRL6VEGrgQbXO26Q7UUUgPnpRmM17UQVxfblW1yyR6YwegDfkrIVvCKO+Rf3AnlGHsmcmDLIjCPAF5OvTym50DsJP1d4/L4llMjPAN1t1yogqe7XwmKNsgNVDDbpOAku37mwAz6Rrg/nbEvbd9DZzfVuxzaJaoP045WZoSyLXXBstHlvA0W+Yx26v7QdHwJyt57UdRbndWJZA3odmMXfK/Jj2dd8RGvxK3EGador8f+0ZViAnEQy+WFNSps+0uz3DLZpeKuY7mslLu7wqWBXbxzwD9C+qsn20WXuLPHn0ul/yQgP7hAlGB3QFvKeLv8T79BiDACCbFZUS/+geAT10PiAP/ZlgGQM0xodsMO/11KV3r1qdQIzJgkP7HF90TqBKZvvPuyX0/28NG6ITF0lT3V1ZzAxSE4+cwr+kyiGbZ2we0TvMLZs69xCHFgEKpn0L27Mq45+jz7XbRTjdih0XG/jgU6tF5JQcB0dSbB93XnT4du61AGNBBZqU0m6C3bCX7qQM1hRczCmrc2p+0AQZONpy1VzTIwfynL3piAD5lHK7DjZn3BwkcZb4hKmyTlFo0wRHgc3qdeyOvcLRWZ7zwicqeMjZx+wf8PGgwGCpmZeRUTnhCrhIgI+aRF8MjEywWl9jE7mGzupllfbSHDjuk421Feq99jRpYhtys0/I9rGnQRpG+QJCGdnx4aJUIOFR9XzbthcH3qD/IYMgKpPRjb7Ygwr6FA5NmyH7GIwvYR1jafnlrLNtbUlS9BMB7EraYAH96oFuFVlyD92jtizfQ3hmhwDe3/tCKSx8FsANVhO9MKuwdS6uy7SWOCeEtN7Va4vKm/nzhtVXXL9IFf/oKJ3Z1ZxI1Fx9NaCLZBBFZEV2gKVzh+t+mlYC0qM5Tw8mPNdT7/Jm1eIc1dinYFcDlPmdQLIDJ9eRibBhaQHXqp3BKd90+/CFgN4GV8h0dvnNSAGDbmLERDPzTkxKkhYrX5JZ2TG5YBPBUlqujlWhKnEif8/dvHv3t+TYlZNYFEHRPQ12Cp7j72k3Jn6Btk6/AgZBa5VQkiYx3sMa8nRuX/gUcHiWS97ygQxCrHLvh+DX7yr6P/d4Py3Vj6HhzeO4Dkl4ZTuhKTosCdkFUCbpxrtqfAbj8BHzlJKOCYfC0JXx8YzekBfgJoVT+6zD8zBDaQsOT1Ij5JN/N2n48QhMibXBNmz1MkcvxfwIHLvQHqdl0v5MbeMIy8sub3xTn/EiKNWs7BVRYqK4rFET0hiLaNdLoDrqOJTJy/n3FmhvP2ubtwMD7HlxbR+IwrrhfgMlReb3609qJBQG+veufo1TM3RYDRiwbVe8OygSKOMoh/uqGABYCurIT4kWk9Bbam5ThEcfR/1N6Jbr4U+dVTcMXWEd8DU6pHAQy35i5RfjIjFqxMAW1QXWgXyi0zk6CI6b8CPpcgXrQ8LPZSvBIn+FJye9lXXjBmU7iWEQg6zoM151N2if+duTMgLcAfxQQJMzTXut7KtgbTuk5y4U/su1JH7AGZpcl/yMNbfzbylDsJL8PtZuVSEpHPViIOcIXtaDpBNzxKtosb0VThwLkF7zo9KAtk9GvxDQUE4617CsbAY4DXU/NYLNkO5XtilaYbYZxQoqqJECukluwF/JN/KblqFGIWlZwDpy2WxKHmwG4TyHXHpMpAWtxT3VVRE4UYmxbMNceT9okV0xjOwA7S4JHXMR3qewP+195e2kPctt01MtF10PkFkzqJKEiyttsyugmWpDm5gBe+oTT7nKr1HXI1NsBWmmBuicEv+AzU65xK3P1z68O5p/kwHQ+3A1pF52PaONwfBlo/qiR1AdRTETdHIasXO+BuADqteFH18iY2yhddkvUJHIcpkEvjxwVYioGHOtaJWbup0btQZ/TFXigD8o8l/SdyzcYSehPFomVlPuI+U5eaYvH17KjlhaOw8O/pDBabVpi4S2tydbEF2tLc048ij2PP59f229C86ldYjGTOMIOd3rFc0b8KA/K+gKjh/NzU+60b5RqscwU0IQlcQUy7jaqZQWR+IP1fn/8u6+bTAHQv0cKZxqg4O14kdo6NHV6CnQJ+mwQ7VUgeowGzrUlqGk0tIQUJQyC9Lcf4KtYPB6QNIpmtRT+EralwuKJZfW8/O/G0GB71Z55X4zHwS9u6TG9xVf21vj+usTNBC5QVjZBMJOMvs6bFb0WheCa/NjSCryqMf9JMk+4MHP4S1jQBJvEhobhrh3Xc/GoTtQ0TeZfedFD64Svs8PhqsyA/8ctCxP1Vb0IpWkBcX5Fls9XYK+HfCEqfiSu7ZGjDtlS2l8OANwj8zwTdXW/U3m2IsPDwulZVQjKd0HJQywq02N6Umk0u4FM3LRiwS6vpokftypumTUD5yTjXe01nDV62UVRskNazJ0e6EM4MRY1maK2AO/TaYaY8eG25u4WXZnvOMM9hwPFTyR0Ylsd8vrzNlAPZ4YSuBZW5DynFaExolYpMbudZuQ1qYZY5TaEmB7AbNoY7BFIUxJgrXeJnjJUkmz5WeoUUrf1wGp96p9ptLb+4MdpcZklyzS82nHfGG0Cn4YIuHiyvOr68XKs04Ta6KtnSAbzvzpOiqybatnR3ilPt9k7bvSundmqb6XUNWbt7fRAvJUYgC893ja0IDGgvXkNr50JGaMmspVM6Dhs8m42PybpRnkUt23uP+bLi91jVx+Pr9JBn06rJ6pBbfThRaviq/mmQehEg9pAzRYdKcx/74Dv4w2lzJy/UzebXQ+0FE+HyaTjQnsqeYfoF1i1bINrzF/JgY92xvLLw1zvKe9tCXuhlVO+YCVzoip7d2JITiBxnEgNhuPVAPn9wEGan99fbGS2Frh4DvGA7uIfdnm4O7uWKj4a1DJ1sF1eNMrh4fKrnyMaJHvUD4TUtOiDtlkNIaRnHwOTTNrH9rIILRAHvMvVNe4KOu71+034DzUMA6y4JmDOvnISkTn2uUu6+SrM8aKFJe2eZpSTXx783LdWYFrIwLc265TKT+HkaHbKha3NHPNDG5j91xOqyOJd4pd3NjhUwgYW0tQFLWTrk5X9HpAGbRpq5EMvQDhO7Epn7YwkezfW0SJU4zqQBj2X5A3QphoSD/mhPVz2UTTwO9Ke1o9vos18ua5oniLx87csALx+ZNLKzkbfL6sj/ndYL1l14vMTVKGAAmfM2GsMbb6132hBQy+KT2qnS5vZrctHOahvhStxf0e3UnpApvdEBjbs4MOSTIVRx6VBIK8eO92Wr43zkhqK/MNvddnaY+jF1N6/427HQKN3b1Z/37RoyAn7jyoGJU5zxSs5yWT9eZn3zM6o9OcYbcVJAH2HiHd4Www9OV8ObLzZX85F5BH+8hohnUMC2aNzQBil+sR4nZOu7jl6HZG/YcQi0UCX+Us+p/6ZQgD2yyT3VSkbq4/DtDBNeULSYlPSQ50e6yjIeKTUPZ3s3yJMqOv64hUc5iiA+isnDpdNwVSXw1P5LDtWMi4xiQ8qaoe3/coGex58Ln5BbWotZons13kMrcdhICPmlqC9xVYGI5h6lrgUTnPQac0s2AzlIPazsBLlmWN1n4pRDmx2kiAoxc4aUCC4vMqMWFdnQSGf9rpiaJA3CFDS9Bs7Ps0uOZkD1YwCSGRFI11cWgrUarCdfOfEGRxiL3OoCiDddz/SLU61knx28S/FMJgFcuG461Uhv5NwFhIRGPlRqZqojmXwt0d242UwYFhQlA9OusYpkG/nuzpnGhIHxBYiUlZFdI1qmkTTwWuxsKFuby5HdNmOkdaR7j3ygl0ImlRp54dzv1Xd72zX/JuJKe/1cId5366fVM+YtvaMvpYBzH7+AAdQ4gEU46xen8rsLlX//EkK57Lz4Nl6gmX1wfKhwUE4bAXz3X01oLbrejSRb9cy23CyX5UAcRqwdzDIEMekWDbY5dCzNFoMVPuA365R0Ud9BLpbZXiJ1virMAB+KZK5ccp+AT2KtrdquzajJPB3DfsIO48qpV8Pblmlc9zpzAfbve+/cK/JDv4VWpYk0QdPzHYSWRUZ/Rhl+KS/jO9S5tnL1VrbtwZWtUD5NQ8I0v5CH0l0bBrNaRMs5nA0C9h0XgxKCYOlgkMNIpeAAuLaagZi94h7fz35PUuF6js3ZNKcCEkpxDS/4+YJt57grGrCSAFcnClTW2BQlETiaxvzaSr0BlSApm7Lpnrv1chcUmVLkPbsK6qxhj3nSoe05WSYsRkAKLHrAlIV0LGGfgbFEc/+3ZYU0alqM7NN+uakh/JacawrqRQN2LU+0T1h1gpOegAksIAsrFrkfNffCWuh4dF+l8YkTm3rxyC99FqpbN9TjmTKvJmtHYa+EFZyH3mqWiry8HBcAf5+h+FBQNl17mUGMT/c3I9MZqX/I/mMl/ITxoVIFgwhwDMyaczrm7jBqHS0d3ABABHun4I+xHipMYy7UEi2qiQIrfRXbXlpwC5OS6yNgnjbY83/ikvNALCzBhLaGlTDiBBMg/qVLhfZONp5fB/BPE+Ufac1xYrkcr0RGXJG8cxQrxJjjn4GrC2iom/jofxo62OArY0QOhBQ550PskDEVgxEyC6ixcNsWB6rdb2uaBDwgBsoSo4kb3c4TsgOhDfylFSQ31tccknU06JSkaG7if0BSMNm6zUx4e+l9+BrUXA61zgGHXY48doPBb+pr8OAQK87nF4qM8TcPKnfftiU8Z8XzCOnol4LeiasCI5MO0x/dr/m1MKBjW4N6gNKXfbw3W+pssh6zt+bQQzLTd/b+GpRvrRowFKUTXK7vp+mveBVrC4TXEPsbDXDMC+STKwAJWv6sj9tLUxx4l7nPT0wv9Q2urXieTV5nXKmcdCvwIxUBfuqHZ1phKYwDs1IUahmKwphqeL8KArdy3T3BzRglkztBaXBbp3et9GJZmd/VkV37i0RTihygHwsGV7WJq0AbKC3HnRa8Ox2I7gieRHNWs+hpGVqRgIvCNFDw6S5Nx7JksnsSNvD1verlz3JqJ1yHXys7yAKlxSj1Jc/Jzto7SHN3+xECpwwiGpjAehujCj9rT2tb7oLdc5uVGXuFnOrWDHf7WSwE/2y80yB1Y4ahJKRzcJ9gHX7ZApPRrYvnfnqrkWAXAIqJYbyvs9brXRlT90VUFLqpwNy3+s17vtHE7HsDo0TPQkUR489V5q79wraSXa6k6NM7HrWD8qeCVyE1a1KPqr9glXV2NLGIyqaGZ5xk5qZK1MwH7S3OayBEP9dqMIayoce0j/++OEFZ7AjfxotLBGx48WGImgcFKS5FFZTlfM3jiyQ3DwPZ0gdalzTSifr5mUcvMzhHTvPa61DkKn565zaJPG6n9mLhM0v6eqk2ziTsxO3hoOoLiczKjxn5RvbJxrFakOP/4mRlf8P88RP+z5SFRfJ8UrzeXXAHhOxgNpjRaaNdQffOwOBCKCj30P6P7Jc/U5Ywl0UYVJS8+sw8GF4FvA8ia6yyKwjnvQ+WvpBmIlgQekC/+sCJ0h70QQsOOwiDsqdoZQUbg6PZGZV550aWT3S0WQutNrwSYJ6QYXHCs1xxPL9zSuefdOVS2b79kvtv14Y1xX3e6R83s/ESiML7ppopZ803uF55YjTAWo3kwgfFiaDphipvW8e7Il/wmBXcB0SCLQOUHvx2kbx3R6P9sbzGUuZoXv2V2ScENO3Aeur/6B1myFfx1efAsWfRfvuVNnemFsY1G82IVnkfm6IoDAiJHNiQrcjZCNdnBJ2YwmOqjw/VGJf64uwyjcfstkg6NMIcTXsS8l7pzNn3hLBSktnE4PSFQ3HhB5Ehgr27H0rRkZBK6S0eObPuxWjTSU1BmrxHNG623nf1q1+cJV63tOIl5AywlrtNOTbPVlbbFcZl3imn8AHaNtYOEjtepaNc0/4HKLZi4XM5N0w71ZpasXiMEJA4XM7UJmd0cP2BaRN3antis8IfP5gppy9OiFFjsC5a9hWGE83jWDjCNiVUVQ4UMl9PM5rf0xLkS8cyDnfhVmSJcuefJtHHOhHubUWeqAh8RAfNZOUOjvd8b/+Gl9SsGmOv5HBUECnzF/IixnGUKROPG4DnmKnSA4TUkF7yDOUToUH6Ib4AXtHeHD4T9cl3C1zz4pK3kr/x/L6CAspjwWBV3iJjaQLNLECJEmJ77/UDIWwCWgIg5dw2e9hO3Cr1EVmL9EgZrnnb+fUPoZpJQ7/lh3WIMbhUHpXS1ZWOfcD5MfeNdYfgpGdMa9XACdHP9xU+4zfa+AIyr/2ZulVRPwCK20a0EdEtqeW/uwce28TlHeo5VJfIcGTX0NzU//g/kasZbHMXiis80W/O4iK/1QCC41ixjFgjtPEalB8btEJEcSrfYbhMk772U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8" ma:contentTypeDescription="Create a new document." ma:contentTypeScope="" ma:versionID="a6a1a80cd16e7a20aa15202249067693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cb3e864e5d419d881ed49dd576a89680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938A6D-6F5A-42A5-98C0-B80A54977D40}">
  <ds:schemaRefs>
    <ds:schemaRef ds:uri="http://schemas.microsoft.com/office/2006/metadata/properties"/>
    <ds:schemaRef ds:uri="http://schemas.microsoft.com/office/infopath/2007/PartnerControls"/>
    <ds:schemaRef ds:uri="f252f0d0-fd33-4d0c-9344-d2a950077a40"/>
  </ds:schemaRefs>
</ds:datastoreItem>
</file>

<file path=customXml/itemProps2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4962FA-1A2E-4F96-A1EF-F07ABE540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608</TotalTime>
  <Words>44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entury Gothic</vt:lpstr>
      <vt:lpstr>Clarity</vt:lpstr>
      <vt:lpstr>10 Most Spoken Languages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25</cp:revision>
  <cp:lastPrinted>2018-12-11T20:03:10Z</cp:lastPrinted>
  <dcterms:created xsi:type="dcterms:W3CDTF">2014-11-08T22:34:19Z</dcterms:created>
  <dcterms:modified xsi:type="dcterms:W3CDTF">2021-01-25T17:4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